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00" r:id="rId2"/>
  </p:sldMasterIdLst>
  <p:notesMasterIdLst>
    <p:notesMasterId r:id="rId47"/>
  </p:notesMasterIdLst>
  <p:sldIdLst>
    <p:sldId id="299" r:id="rId3"/>
    <p:sldId id="257" r:id="rId4"/>
    <p:sldId id="258" r:id="rId5"/>
    <p:sldId id="259" r:id="rId6"/>
    <p:sldId id="260" r:id="rId7"/>
    <p:sldId id="261" r:id="rId8"/>
    <p:sldId id="263" r:id="rId9"/>
    <p:sldId id="264" r:id="rId10"/>
    <p:sldId id="262" r:id="rId11"/>
    <p:sldId id="265" r:id="rId12"/>
    <p:sldId id="266" r:id="rId13"/>
    <p:sldId id="267" r:id="rId14"/>
    <p:sldId id="268" r:id="rId15"/>
    <p:sldId id="269" r:id="rId16"/>
    <p:sldId id="270" r:id="rId17"/>
    <p:sldId id="271" r:id="rId18"/>
    <p:sldId id="272" r:id="rId19"/>
    <p:sldId id="273" r:id="rId20"/>
    <p:sldId id="274" r:id="rId21"/>
    <p:sldId id="275" r:id="rId22"/>
    <p:sldId id="276" r:id="rId23"/>
    <p:sldId id="277" r:id="rId24"/>
    <p:sldId id="294" r:id="rId25"/>
    <p:sldId id="278" r:id="rId26"/>
    <p:sldId id="282" r:id="rId27"/>
    <p:sldId id="283" r:id="rId28"/>
    <p:sldId id="296" r:id="rId29"/>
    <p:sldId id="297" r:id="rId30"/>
    <p:sldId id="295" r:id="rId31"/>
    <p:sldId id="280" r:id="rId32"/>
    <p:sldId id="284" r:id="rId33"/>
    <p:sldId id="285" r:id="rId34"/>
    <p:sldId id="286" r:id="rId35"/>
    <p:sldId id="287" r:id="rId36"/>
    <p:sldId id="288" r:id="rId37"/>
    <p:sldId id="279" r:id="rId38"/>
    <p:sldId id="289" r:id="rId39"/>
    <p:sldId id="290" r:id="rId40"/>
    <p:sldId id="291" r:id="rId41"/>
    <p:sldId id="292" r:id="rId42"/>
    <p:sldId id="300" r:id="rId43"/>
    <p:sldId id="281" r:id="rId44"/>
    <p:sldId id="293" r:id="rId45"/>
    <p:sldId id="298" r:id="rId46"/>
  </p:sldIdLst>
  <p:sldSz cx="12192000" cy="6858000"/>
  <p:notesSz cx="6858000" cy="9144000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8118"/>
    <a:srgbClr val="00188F"/>
    <a:srgbClr val="00AEEF"/>
    <a:srgbClr val="0274B3"/>
    <a:srgbClr val="1882DB"/>
    <a:srgbClr val="FF8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90DF188-2045-460B-A1AF-291DE44D7B3A}" v="78" dt="2022-05-11T06:30:06.98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35" autoAdjust="0"/>
    <p:restoredTop sz="81559" autoAdjust="0"/>
  </p:normalViewPr>
  <p:slideViewPr>
    <p:cSldViewPr snapToGrid="0">
      <p:cViewPr varScale="1">
        <p:scale>
          <a:sx n="67" d="100"/>
          <a:sy n="67" d="100"/>
        </p:scale>
        <p:origin x="1219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notesMaster" Target="notesMasters/notesMaster1.xml"/><Relationship Id="rId50" Type="http://schemas.openxmlformats.org/officeDocument/2006/relationships/theme" Target="theme/theme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microsoft.com/office/2015/10/relationships/revisionInfo" Target="revisionInfo.xml"/><Relationship Id="rId5" Type="http://schemas.openxmlformats.org/officeDocument/2006/relationships/slide" Target="slides/slide3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microsoft.com/office/2016/11/relationships/changesInfo" Target="changesInfos/changesInfo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presProps" Target="presProps.xml"/><Relationship Id="rId8" Type="http://schemas.openxmlformats.org/officeDocument/2006/relationships/slide" Target="slides/slide6.xml"/><Relationship Id="rId51" Type="http://schemas.openxmlformats.org/officeDocument/2006/relationships/tableStyles" Target="tableStyles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oen Verbeeck" userId="24d0e79a7fd977da" providerId="LiveId" clId="{890DF188-2045-460B-A1AF-291DE44D7B3A}"/>
    <pc:docChg chg="undo redo custSel addSld delSld modSld">
      <pc:chgData name="Koen Verbeeck" userId="24d0e79a7fd977da" providerId="LiveId" clId="{890DF188-2045-460B-A1AF-291DE44D7B3A}" dt="2022-05-21T18:47:42.595" v="287" actId="20577"/>
      <pc:docMkLst>
        <pc:docMk/>
      </pc:docMkLst>
      <pc:sldChg chg="del">
        <pc:chgData name="Koen Verbeeck" userId="24d0e79a7fd977da" providerId="LiveId" clId="{890DF188-2045-460B-A1AF-291DE44D7B3A}" dt="2022-04-25T14:42:32.759" v="176" actId="47"/>
        <pc:sldMkLst>
          <pc:docMk/>
          <pc:sldMk cId="3714125683" sldId="256"/>
        </pc:sldMkLst>
      </pc:sldChg>
      <pc:sldChg chg="addSp modSp mod modAnim">
        <pc:chgData name="Koen Verbeeck" userId="24d0e79a7fd977da" providerId="LiveId" clId="{890DF188-2045-460B-A1AF-291DE44D7B3A}" dt="2022-05-04T08:41:51.752" v="179"/>
        <pc:sldMkLst>
          <pc:docMk/>
          <pc:sldMk cId="2814818433" sldId="263"/>
        </pc:sldMkLst>
        <pc:spChg chg="add mod">
          <ac:chgData name="Koen Verbeeck" userId="24d0e79a7fd977da" providerId="LiveId" clId="{890DF188-2045-460B-A1AF-291DE44D7B3A}" dt="2022-05-04T08:41:45.278" v="178" actId="1076"/>
          <ac:spMkLst>
            <pc:docMk/>
            <pc:sldMk cId="2814818433" sldId="263"/>
            <ac:spMk id="5" creationId="{DD2CDD01-E506-0A90-A366-A83308C331D4}"/>
          </ac:spMkLst>
        </pc:spChg>
      </pc:sldChg>
      <pc:sldChg chg="modNotesTx">
        <pc:chgData name="Koen Verbeeck" userId="24d0e79a7fd977da" providerId="LiveId" clId="{890DF188-2045-460B-A1AF-291DE44D7B3A}" dt="2022-04-16T20:23:58.831" v="71" actId="20577"/>
        <pc:sldMkLst>
          <pc:docMk/>
          <pc:sldMk cId="1810463862" sldId="273"/>
        </pc:sldMkLst>
      </pc:sldChg>
      <pc:sldChg chg="modAnim">
        <pc:chgData name="Koen Verbeeck" userId="24d0e79a7fd977da" providerId="LiveId" clId="{890DF188-2045-460B-A1AF-291DE44D7B3A}" dt="2022-05-04T08:42:09.019" v="181"/>
        <pc:sldMkLst>
          <pc:docMk/>
          <pc:sldMk cId="281771224" sldId="284"/>
        </pc:sldMkLst>
      </pc:sldChg>
      <pc:sldChg chg="modAnim">
        <pc:chgData name="Koen Verbeeck" userId="24d0e79a7fd977da" providerId="LiveId" clId="{890DF188-2045-460B-A1AF-291DE44D7B3A}" dt="2022-05-04T08:42:16.635" v="183"/>
        <pc:sldMkLst>
          <pc:docMk/>
          <pc:sldMk cId="1552493767" sldId="285"/>
        </pc:sldMkLst>
      </pc:sldChg>
      <pc:sldChg chg="modAnim">
        <pc:chgData name="Koen Verbeeck" userId="24d0e79a7fd977da" providerId="LiveId" clId="{890DF188-2045-460B-A1AF-291DE44D7B3A}" dt="2022-04-16T20:26:56.460" v="76"/>
        <pc:sldMkLst>
          <pc:docMk/>
          <pc:sldMk cId="2123045658" sldId="287"/>
        </pc:sldMkLst>
      </pc:sldChg>
      <pc:sldChg chg="modSp mod">
        <pc:chgData name="Koen Verbeeck" userId="24d0e79a7fd977da" providerId="LiveId" clId="{890DF188-2045-460B-A1AF-291DE44D7B3A}" dt="2022-05-21T18:47:42.595" v="287" actId="20577"/>
        <pc:sldMkLst>
          <pc:docMk/>
          <pc:sldMk cId="2627713269" sldId="288"/>
        </pc:sldMkLst>
        <pc:spChg chg="mod">
          <ac:chgData name="Koen Verbeeck" userId="24d0e79a7fd977da" providerId="LiveId" clId="{890DF188-2045-460B-A1AF-291DE44D7B3A}" dt="2022-05-21T18:47:42.595" v="287" actId="20577"/>
          <ac:spMkLst>
            <pc:docMk/>
            <pc:sldMk cId="2627713269" sldId="288"/>
            <ac:spMk id="5" creationId="{6E0D2489-6A42-4C2F-AC08-FE9B6654986E}"/>
          </ac:spMkLst>
        </pc:spChg>
      </pc:sldChg>
      <pc:sldChg chg="modSp mod">
        <pc:chgData name="Koen Verbeeck" userId="24d0e79a7fd977da" providerId="LiveId" clId="{890DF188-2045-460B-A1AF-291DE44D7B3A}" dt="2022-04-25T14:27:44.305" v="82" actId="20577"/>
        <pc:sldMkLst>
          <pc:docMk/>
          <pc:sldMk cId="1323138751" sldId="290"/>
        </pc:sldMkLst>
        <pc:spChg chg="mod">
          <ac:chgData name="Koen Verbeeck" userId="24d0e79a7fd977da" providerId="LiveId" clId="{890DF188-2045-460B-A1AF-291DE44D7B3A}" dt="2022-04-25T14:27:44.305" v="82" actId="20577"/>
          <ac:spMkLst>
            <pc:docMk/>
            <pc:sldMk cId="1323138751" sldId="290"/>
            <ac:spMk id="3" creationId="{E68FC4B6-A776-44C2-AB41-6E5851324022}"/>
          </ac:spMkLst>
        </pc:spChg>
      </pc:sldChg>
      <pc:sldChg chg="addSp modSp mod">
        <pc:chgData name="Koen Verbeeck" userId="24d0e79a7fd977da" providerId="LiveId" clId="{890DF188-2045-460B-A1AF-291DE44D7B3A}" dt="2022-05-04T08:43:48.840" v="187" actId="1076"/>
        <pc:sldMkLst>
          <pc:docMk/>
          <pc:sldMk cId="4145993966" sldId="294"/>
        </pc:sldMkLst>
        <pc:picChg chg="add mod">
          <ac:chgData name="Koen Verbeeck" userId="24d0e79a7fd977da" providerId="LiveId" clId="{890DF188-2045-460B-A1AF-291DE44D7B3A}" dt="2022-05-04T08:43:48.840" v="187" actId="1076"/>
          <ac:picMkLst>
            <pc:docMk/>
            <pc:sldMk cId="4145993966" sldId="294"/>
            <ac:picMk id="6" creationId="{003796B6-3605-999E-14EB-904DD97BDB78}"/>
          </ac:picMkLst>
        </pc:picChg>
      </pc:sldChg>
      <pc:sldChg chg="modSp mod">
        <pc:chgData name="Koen Verbeeck" userId="24d0e79a7fd977da" providerId="LiveId" clId="{890DF188-2045-460B-A1AF-291DE44D7B3A}" dt="2022-04-25T14:29:15.907" v="87" actId="20577"/>
        <pc:sldMkLst>
          <pc:docMk/>
          <pc:sldMk cId="3202223974" sldId="298"/>
        </pc:sldMkLst>
        <pc:spChg chg="mod">
          <ac:chgData name="Koen Verbeeck" userId="24d0e79a7fd977da" providerId="LiveId" clId="{890DF188-2045-460B-A1AF-291DE44D7B3A}" dt="2022-04-25T14:29:15.907" v="87" actId="20577"/>
          <ac:spMkLst>
            <pc:docMk/>
            <pc:sldMk cId="3202223974" sldId="298"/>
            <ac:spMk id="3" creationId="{15DBE023-91DF-46E4-8605-9B11981CD92D}"/>
          </ac:spMkLst>
        </pc:spChg>
      </pc:sldChg>
      <pc:sldChg chg="modSp add del mod">
        <pc:chgData name="Koen Verbeeck" userId="24d0e79a7fd977da" providerId="LiveId" clId="{890DF188-2045-460B-A1AF-291DE44D7B3A}" dt="2022-04-25T14:42:29.794" v="175" actId="1036"/>
        <pc:sldMkLst>
          <pc:docMk/>
          <pc:sldMk cId="1465020769" sldId="299"/>
        </pc:sldMkLst>
        <pc:spChg chg="mod">
          <ac:chgData name="Koen Verbeeck" userId="24d0e79a7fd977da" providerId="LiveId" clId="{890DF188-2045-460B-A1AF-291DE44D7B3A}" dt="2022-04-25T14:42:15.139" v="134" actId="1036"/>
          <ac:spMkLst>
            <pc:docMk/>
            <pc:sldMk cId="1465020769" sldId="299"/>
            <ac:spMk id="2" creationId="{E1209184-F6FF-421D-8508-43182A3C38B7}"/>
          </ac:spMkLst>
        </pc:spChg>
        <pc:spChg chg="mod">
          <ac:chgData name="Koen Verbeeck" userId="24d0e79a7fd977da" providerId="LiveId" clId="{890DF188-2045-460B-A1AF-291DE44D7B3A}" dt="2022-04-25T14:42:29.794" v="175" actId="1036"/>
          <ac:spMkLst>
            <pc:docMk/>
            <pc:sldMk cId="1465020769" sldId="299"/>
            <ac:spMk id="3" creationId="{DB639549-6A81-4356-BF19-DD0F760588C0}"/>
          </ac:spMkLst>
        </pc:spChg>
      </pc:sldChg>
      <pc:sldChg chg="addSp delSp modSp new mod addAnim delAnim modAnim">
        <pc:chgData name="Koen Verbeeck" userId="24d0e79a7fd977da" providerId="LiveId" clId="{890DF188-2045-460B-A1AF-291DE44D7B3A}" dt="2022-05-11T06:30:06.981" v="269" actId="20577"/>
        <pc:sldMkLst>
          <pc:docMk/>
          <pc:sldMk cId="1989341630" sldId="300"/>
        </pc:sldMkLst>
        <pc:spChg chg="mod">
          <ac:chgData name="Koen Verbeeck" userId="24d0e79a7fd977da" providerId="LiveId" clId="{890DF188-2045-460B-A1AF-291DE44D7B3A}" dt="2022-05-11T05:42:58.762" v="195" actId="20577"/>
          <ac:spMkLst>
            <pc:docMk/>
            <pc:sldMk cId="1989341630" sldId="300"/>
            <ac:spMk id="2" creationId="{A0963791-5646-E175-AED2-09D26DB22A0C}"/>
          </ac:spMkLst>
        </pc:spChg>
        <pc:spChg chg="add mod">
          <ac:chgData name="Koen Verbeeck" userId="24d0e79a7fd977da" providerId="LiveId" clId="{890DF188-2045-460B-A1AF-291DE44D7B3A}" dt="2022-05-11T05:43:58.240" v="202" actId="1036"/>
          <ac:spMkLst>
            <pc:docMk/>
            <pc:sldMk cId="1989341630" sldId="300"/>
            <ac:spMk id="6" creationId="{3ACB5812-1F45-C4FC-C2B3-928F026DEDA9}"/>
          </ac:spMkLst>
        </pc:spChg>
        <pc:spChg chg="add mod">
          <ac:chgData name="Koen Verbeeck" userId="24d0e79a7fd977da" providerId="LiveId" clId="{890DF188-2045-460B-A1AF-291DE44D7B3A}" dt="2022-05-11T05:43:58.240" v="202" actId="1036"/>
          <ac:spMkLst>
            <pc:docMk/>
            <pc:sldMk cId="1989341630" sldId="300"/>
            <ac:spMk id="7" creationId="{A19677FE-8CE9-2C1E-302C-41CEABDE927B}"/>
          </ac:spMkLst>
        </pc:spChg>
        <pc:spChg chg="add mod">
          <ac:chgData name="Koen Verbeeck" userId="24d0e79a7fd977da" providerId="LiveId" clId="{890DF188-2045-460B-A1AF-291DE44D7B3A}" dt="2022-05-11T05:43:58.240" v="202" actId="1036"/>
          <ac:spMkLst>
            <pc:docMk/>
            <pc:sldMk cId="1989341630" sldId="300"/>
            <ac:spMk id="8" creationId="{CF45962B-1F6F-E922-2B21-50D6FC2F0124}"/>
          </ac:spMkLst>
        </pc:spChg>
        <pc:spChg chg="add mod">
          <ac:chgData name="Koen Verbeeck" userId="24d0e79a7fd977da" providerId="LiveId" clId="{890DF188-2045-460B-A1AF-291DE44D7B3A}" dt="2022-05-11T05:45:52.323" v="208" actId="20577"/>
          <ac:spMkLst>
            <pc:docMk/>
            <pc:sldMk cId="1989341630" sldId="300"/>
            <ac:spMk id="10" creationId="{C14D09BA-68A6-A615-F79D-F24E8517279B}"/>
          </ac:spMkLst>
        </pc:spChg>
        <pc:spChg chg="add mod">
          <ac:chgData name="Koen Verbeeck" userId="24d0e79a7fd977da" providerId="LiveId" clId="{890DF188-2045-460B-A1AF-291DE44D7B3A}" dt="2022-05-11T05:43:58.240" v="202" actId="1036"/>
          <ac:spMkLst>
            <pc:docMk/>
            <pc:sldMk cId="1989341630" sldId="300"/>
            <ac:spMk id="11" creationId="{AD3BC0DE-EAE4-F1E4-FC90-2E5AF69EC0A9}"/>
          </ac:spMkLst>
        </pc:spChg>
        <pc:spChg chg="add mod">
          <ac:chgData name="Koen Verbeeck" userId="24d0e79a7fd977da" providerId="LiveId" clId="{890DF188-2045-460B-A1AF-291DE44D7B3A}" dt="2022-05-11T05:44:03.641" v="204" actId="20577"/>
          <ac:spMkLst>
            <pc:docMk/>
            <pc:sldMk cId="1989341630" sldId="300"/>
            <ac:spMk id="13" creationId="{1C4D62FE-AB2B-9D61-8A7A-976B217FFE96}"/>
          </ac:spMkLst>
        </pc:spChg>
        <pc:spChg chg="add del mod">
          <ac:chgData name="Koen Verbeeck" userId="24d0e79a7fd977da" providerId="LiveId" clId="{890DF188-2045-460B-A1AF-291DE44D7B3A}" dt="2022-05-11T06:30:06.981" v="269" actId="20577"/>
          <ac:spMkLst>
            <pc:docMk/>
            <pc:sldMk cId="1989341630" sldId="300"/>
            <ac:spMk id="14" creationId="{0877B906-13EE-4524-4A10-65005F19B572}"/>
          </ac:spMkLst>
        </pc:spChg>
        <pc:picChg chg="add mod">
          <ac:chgData name="Koen Verbeeck" userId="24d0e79a7fd977da" providerId="LiveId" clId="{890DF188-2045-460B-A1AF-291DE44D7B3A}" dt="2022-05-11T05:43:14.549" v="199" actId="1076"/>
          <ac:picMkLst>
            <pc:docMk/>
            <pc:sldMk cId="1989341630" sldId="300"/>
            <ac:picMk id="4" creationId="{05506A54-8BFD-4C97-607D-D00DE407EC78}"/>
          </ac:picMkLst>
        </pc:picChg>
        <pc:picChg chg="add del mod">
          <ac:chgData name="Koen Verbeeck" userId="24d0e79a7fd977da" providerId="LiveId" clId="{890DF188-2045-460B-A1AF-291DE44D7B3A}" dt="2022-05-11T05:46:19.736" v="213" actId="478"/>
          <ac:picMkLst>
            <pc:docMk/>
            <pc:sldMk cId="1989341630" sldId="300"/>
            <ac:picMk id="15" creationId="{D48EF330-DBC0-1DAA-30BD-A2D43FDD9D7C}"/>
          </ac:picMkLst>
        </pc:picChg>
        <pc:cxnChg chg="add mod">
          <ac:chgData name="Koen Verbeeck" userId="24d0e79a7fd977da" providerId="LiveId" clId="{890DF188-2045-460B-A1AF-291DE44D7B3A}" dt="2022-05-11T05:43:58.240" v="202" actId="1036"/>
          <ac:cxnSpMkLst>
            <pc:docMk/>
            <pc:sldMk cId="1989341630" sldId="300"/>
            <ac:cxnSpMk id="5" creationId="{ECB29B92-FFD7-7274-A036-E688E84D241B}"/>
          </ac:cxnSpMkLst>
        </pc:cxnChg>
        <pc:cxnChg chg="add mod">
          <ac:chgData name="Koen Verbeeck" userId="24d0e79a7fd977da" providerId="LiveId" clId="{890DF188-2045-460B-A1AF-291DE44D7B3A}" dt="2022-05-11T05:43:58.240" v="202" actId="1036"/>
          <ac:cxnSpMkLst>
            <pc:docMk/>
            <pc:sldMk cId="1989341630" sldId="300"/>
            <ac:cxnSpMk id="9" creationId="{5065B180-3E32-3B01-982A-F7F33564E680}"/>
          </ac:cxnSpMkLst>
        </pc:cxnChg>
        <pc:cxnChg chg="add mod">
          <ac:chgData name="Koen Verbeeck" userId="24d0e79a7fd977da" providerId="LiveId" clId="{890DF188-2045-460B-A1AF-291DE44D7B3A}" dt="2022-05-11T05:43:58.240" v="202" actId="1036"/>
          <ac:cxnSpMkLst>
            <pc:docMk/>
            <pc:sldMk cId="1989341630" sldId="300"/>
            <ac:cxnSpMk id="12" creationId="{C2E015C3-3D12-9B68-B232-9AD074EB0389}"/>
          </ac:cxnSpMkLst>
        </pc:cxnChg>
      </pc:sldChg>
    </pc:docChg>
  </pc:docChgLst>
  <pc:docChgLst>
    <pc:chgData name="Koen Verbeeck" userId="24d0e79a7fd977da" providerId="LiveId" clId="{BA62A9EE-AA9E-47FB-8CAA-896EFD47EA90}"/>
    <pc:docChg chg="undo redo custSel addSld delSld modSld sldOrd">
      <pc:chgData name="Koen Verbeeck" userId="24d0e79a7fd977da" providerId="LiveId" clId="{BA62A9EE-AA9E-47FB-8CAA-896EFD47EA90}" dt="2022-03-28T09:19:17.532" v="3696" actId="20577"/>
      <pc:docMkLst>
        <pc:docMk/>
      </pc:docMkLst>
      <pc:sldChg chg="modSp mod">
        <pc:chgData name="Koen Verbeeck" userId="24d0e79a7fd977da" providerId="LiveId" clId="{BA62A9EE-AA9E-47FB-8CAA-896EFD47EA90}" dt="2022-03-23T19:05:39.649" v="54" actId="20577"/>
        <pc:sldMkLst>
          <pc:docMk/>
          <pc:sldMk cId="3714125683" sldId="256"/>
        </pc:sldMkLst>
        <pc:spChg chg="mod">
          <ac:chgData name="Koen Verbeeck" userId="24d0e79a7fd977da" providerId="LiveId" clId="{BA62A9EE-AA9E-47FB-8CAA-896EFD47EA90}" dt="2022-03-23T19:05:35.972" v="41" actId="27636"/>
          <ac:spMkLst>
            <pc:docMk/>
            <pc:sldMk cId="3714125683" sldId="256"/>
            <ac:spMk id="2" creationId="{986E916E-8655-42D5-A489-B2B2FDFA433D}"/>
          </ac:spMkLst>
        </pc:spChg>
        <pc:spChg chg="mod">
          <ac:chgData name="Koen Verbeeck" userId="24d0e79a7fd977da" providerId="LiveId" clId="{BA62A9EE-AA9E-47FB-8CAA-896EFD47EA90}" dt="2022-03-23T19:05:39.649" v="54" actId="20577"/>
          <ac:spMkLst>
            <pc:docMk/>
            <pc:sldMk cId="3714125683" sldId="256"/>
            <ac:spMk id="3" creationId="{FF9B7065-077D-4AB6-AD85-735651829BE5}"/>
          </ac:spMkLst>
        </pc:spChg>
      </pc:sldChg>
      <pc:sldChg chg="addSp delSp modSp new mod modClrScheme chgLayout">
        <pc:chgData name="Koen Verbeeck" userId="24d0e79a7fd977da" providerId="LiveId" clId="{BA62A9EE-AA9E-47FB-8CAA-896EFD47EA90}" dt="2022-03-26T22:01:40.507" v="2227" actId="1076"/>
        <pc:sldMkLst>
          <pc:docMk/>
          <pc:sldMk cId="2619988835" sldId="257"/>
        </pc:sldMkLst>
        <pc:spChg chg="del mod ord">
          <ac:chgData name="Koen Verbeeck" userId="24d0e79a7fd977da" providerId="LiveId" clId="{BA62A9EE-AA9E-47FB-8CAA-896EFD47EA90}" dt="2022-03-23T19:05:56.087" v="56" actId="700"/>
          <ac:spMkLst>
            <pc:docMk/>
            <pc:sldMk cId="2619988835" sldId="257"/>
            <ac:spMk id="2" creationId="{E66D77A8-D2B6-47CA-8612-960B2E04EF0F}"/>
          </ac:spMkLst>
        </pc:spChg>
        <pc:spChg chg="del mod ord">
          <ac:chgData name="Koen Verbeeck" userId="24d0e79a7fd977da" providerId="LiveId" clId="{BA62A9EE-AA9E-47FB-8CAA-896EFD47EA90}" dt="2022-03-23T19:05:56.087" v="56" actId="700"/>
          <ac:spMkLst>
            <pc:docMk/>
            <pc:sldMk cId="2619988835" sldId="257"/>
            <ac:spMk id="3" creationId="{5383AAF6-9734-46B4-97BA-FC929C4D3238}"/>
          </ac:spMkLst>
        </pc:spChg>
        <pc:spChg chg="add mod ord">
          <ac:chgData name="Koen Verbeeck" userId="24d0e79a7fd977da" providerId="LiveId" clId="{BA62A9EE-AA9E-47FB-8CAA-896EFD47EA90}" dt="2022-03-25T17:06:34.401" v="469" actId="20577"/>
          <ac:spMkLst>
            <pc:docMk/>
            <pc:sldMk cId="2619988835" sldId="257"/>
            <ac:spMk id="4" creationId="{45E9CC81-A8F4-4439-A4CA-3ADB2CF4BCFD}"/>
          </ac:spMkLst>
        </pc:spChg>
        <pc:spChg chg="add del mod ord">
          <ac:chgData name="Koen Verbeeck" userId="24d0e79a7fd977da" providerId="LiveId" clId="{BA62A9EE-AA9E-47FB-8CAA-896EFD47EA90}" dt="2022-03-23T19:53:03.704" v="60" actId="700"/>
          <ac:spMkLst>
            <pc:docMk/>
            <pc:sldMk cId="2619988835" sldId="257"/>
            <ac:spMk id="5" creationId="{D7DD6489-0B97-4BE9-AA4F-943DFB9ED09F}"/>
          </ac:spMkLst>
        </pc:spChg>
        <pc:spChg chg="add del mod ord">
          <ac:chgData name="Koen Verbeeck" userId="24d0e79a7fd977da" providerId="LiveId" clId="{BA62A9EE-AA9E-47FB-8CAA-896EFD47EA90}" dt="2022-03-23T19:54:06.261" v="66" actId="700"/>
          <ac:spMkLst>
            <pc:docMk/>
            <pc:sldMk cId="2619988835" sldId="257"/>
            <ac:spMk id="6" creationId="{9C63411A-DF19-445B-A4A8-8219598AAD92}"/>
          </ac:spMkLst>
        </pc:spChg>
        <pc:spChg chg="add del mod ord">
          <ac:chgData name="Koen Verbeeck" userId="24d0e79a7fd977da" providerId="LiveId" clId="{BA62A9EE-AA9E-47FB-8CAA-896EFD47EA90}" dt="2022-03-23T19:54:06.261" v="66" actId="700"/>
          <ac:spMkLst>
            <pc:docMk/>
            <pc:sldMk cId="2619988835" sldId="257"/>
            <ac:spMk id="7" creationId="{4E9C9EED-50D1-4E96-9CC6-BC2376D94F6F}"/>
          </ac:spMkLst>
        </pc:spChg>
        <pc:spChg chg="add del mod ord">
          <ac:chgData name="Koen Verbeeck" userId="24d0e79a7fd977da" providerId="LiveId" clId="{BA62A9EE-AA9E-47FB-8CAA-896EFD47EA90}" dt="2022-03-23T19:54:06.261" v="66" actId="700"/>
          <ac:spMkLst>
            <pc:docMk/>
            <pc:sldMk cId="2619988835" sldId="257"/>
            <ac:spMk id="8" creationId="{22106914-67D4-44BE-811B-94B082D87140}"/>
          </ac:spMkLst>
        </pc:spChg>
        <pc:spChg chg="add del mod">
          <ac:chgData name="Koen Verbeeck" userId="24d0e79a7fd977da" providerId="LiveId" clId="{BA62A9EE-AA9E-47FB-8CAA-896EFD47EA90}" dt="2022-03-25T17:06:51.799" v="471"/>
          <ac:spMkLst>
            <pc:docMk/>
            <pc:sldMk cId="2619988835" sldId="257"/>
            <ac:spMk id="19" creationId="{DAA25D89-63F2-4C4E-A362-0144160858E4}"/>
          </ac:spMkLst>
        </pc:spChg>
        <pc:spChg chg="add mod">
          <ac:chgData name="Koen Verbeeck" userId="24d0e79a7fd977da" providerId="LiveId" clId="{BA62A9EE-AA9E-47FB-8CAA-896EFD47EA90}" dt="2022-03-26T22:01:28.605" v="2225" actId="1036"/>
          <ac:spMkLst>
            <pc:docMk/>
            <pc:sldMk cId="2619988835" sldId="257"/>
            <ac:spMk id="20" creationId="{4A89FB90-D1F7-49D7-932B-7A915FE0122D}"/>
          </ac:spMkLst>
        </pc:spChg>
        <pc:spChg chg="add del mod">
          <ac:chgData name="Koen Verbeeck" userId="24d0e79a7fd977da" providerId="LiveId" clId="{BA62A9EE-AA9E-47FB-8CAA-896EFD47EA90}" dt="2022-03-26T22:00:47.395" v="2166" actId="478"/>
          <ac:spMkLst>
            <pc:docMk/>
            <pc:sldMk cId="2619988835" sldId="257"/>
            <ac:spMk id="21" creationId="{77E27332-C69C-4F71-B3A0-66A64D2EAC25}"/>
          </ac:spMkLst>
        </pc:spChg>
        <pc:spChg chg="mod">
          <ac:chgData name="Koen Verbeeck" userId="24d0e79a7fd977da" providerId="LiveId" clId="{BA62A9EE-AA9E-47FB-8CAA-896EFD47EA90}" dt="2022-03-26T22:01:28.605" v="2225" actId="1036"/>
          <ac:spMkLst>
            <pc:docMk/>
            <pc:sldMk cId="2619988835" sldId="257"/>
            <ac:spMk id="24" creationId="{BFF25780-A8C4-4535-819C-7DA44AC5906F}"/>
          </ac:spMkLst>
        </pc:spChg>
        <pc:spChg chg="add mod">
          <ac:chgData name="Koen Verbeeck" userId="24d0e79a7fd977da" providerId="LiveId" clId="{BA62A9EE-AA9E-47FB-8CAA-896EFD47EA90}" dt="2022-03-26T22:01:28.605" v="2225" actId="1036"/>
          <ac:spMkLst>
            <pc:docMk/>
            <pc:sldMk cId="2619988835" sldId="257"/>
            <ac:spMk id="26" creationId="{32E475E7-96DF-4E92-BDAA-A0A65DA568CE}"/>
          </ac:spMkLst>
        </pc:spChg>
        <pc:spChg chg="add mod">
          <ac:chgData name="Koen Verbeeck" userId="24d0e79a7fd977da" providerId="LiveId" clId="{BA62A9EE-AA9E-47FB-8CAA-896EFD47EA90}" dt="2022-03-26T22:01:28.605" v="2225" actId="1036"/>
          <ac:spMkLst>
            <pc:docMk/>
            <pc:sldMk cId="2619988835" sldId="257"/>
            <ac:spMk id="30" creationId="{D1C574BF-8FBF-4BF2-976A-76C4D9FB4ED1}"/>
          </ac:spMkLst>
        </pc:spChg>
        <pc:picChg chg="add del mod">
          <ac:chgData name="Koen Verbeeck" userId="24d0e79a7fd977da" providerId="LiveId" clId="{BA62A9EE-AA9E-47FB-8CAA-896EFD47EA90}" dt="2022-03-23T19:53:38.996" v="65" actId="931"/>
          <ac:picMkLst>
            <pc:docMk/>
            <pc:sldMk cId="2619988835" sldId="257"/>
            <ac:picMk id="10" creationId="{17080A79-3624-4CB7-A226-B964F8276F72}"/>
          </ac:picMkLst>
        </pc:picChg>
        <pc:picChg chg="add del mod">
          <ac:chgData name="Koen Verbeeck" userId="24d0e79a7fd977da" providerId="LiveId" clId="{BA62A9EE-AA9E-47FB-8CAA-896EFD47EA90}" dt="2022-03-23T19:56:41.297" v="395" actId="478"/>
          <ac:picMkLst>
            <pc:docMk/>
            <pc:sldMk cId="2619988835" sldId="257"/>
            <ac:picMk id="12" creationId="{B0580F93-494C-418C-817A-55016E3AEE4A}"/>
          </ac:picMkLst>
        </pc:picChg>
        <pc:picChg chg="add mod">
          <ac:chgData name="Koen Verbeeck" userId="24d0e79a7fd977da" providerId="LiveId" clId="{BA62A9EE-AA9E-47FB-8CAA-896EFD47EA90}" dt="2022-03-25T17:05:37.997" v="431" actId="14100"/>
          <ac:picMkLst>
            <pc:docMk/>
            <pc:sldMk cId="2619988835" sldId="257"/>
            <ac:picMk id="14" creationId="{8EAA10CD-9D1C-4C49-B5AE-58226636C59C}"/>
          </ac:picMkLst>
        </pc:picChg>
        <pc:picChg chg="add del mod">
          <ac:chgData name="Koen Verbeeck" userId="24d0e79a7fd977da" providerId="LiveId" clId="{BA62A9EE-AA9E-47FB-8CAA-896EFD47EA90}" dt="2022-03-25T17:04:01.756" v="404" actId="478"/>
          <ac:picMkLst>
            <pc:docMk/>
            <pc:sldMk cId="2619988835" sldId="257"/>
            <ac:picMk id="15" creationId="{15F481AD-8C22-442B-A225-CA366FE3A47A}"/>
          </ac:picMkLst>
        </pc:picChg>
        <pc:picChg chg="add del">
          <ac:chgData name="Koen Verbeeck" userId="24d0e79a7fd977da" providerId="LiveId" clId="{BA62A9EE-AA9E-47FB-8CAA-896EFD47EA90}" dt="2022-03-25T17:06:55.516" v="475"/>
          <ac:picMkLst>
            <pc:docMk/>
            <pc:sldMk cId="2619988835" sldId="257"/>
            <ac:picMk id="16" creationId="{5F2552DE-4780-4525-8BFF-363F06489913}"/>
          </ac:picMkLst>
        </pc:picChg>
        <pc:picChg chg="add mod">
          <ac:chgData name="Koen Verbeeck" userId="24d0e79a7fd977da" providerId="LiveId" clId="{BA62A9EE-AA9E-47FB-8CAA-896EFD47EA90}" dt="2022-03-26T21:56:47.004" v="2114" actId="1038"/>
          <ac:picMkLst>
            <pc:docMk/>
            <pc:sldMk cId="2619988835" sldId="257"/>
            <ac:picMk id="17" creationId="{5D161C8D-663B-4479-82E4-47BE03A5F6F6}"/>
          </ac:picMkLst>
        </pc:picChg>
        <pc:picChg chg="add mod">
          <ac:chgData name="Koen Verbeeck" userId="24d0e79a7fd977da" providerId="LiveId" clId="{BA62A9EE-AA9E-47FB-8CAA-896EFD47EA90}" dt="2022-03-25T17:09:52.014" v="518" actId="1076"/>
          <ac:picMkLst>
            <pc:docMk/>
            <pc:sldMk cId="2619988835" sldId="257"/>
            <ac:picMk id="18" creationId="{6567CC35-AC26-4F78-A0DA-AF4C0D772EB3}"/>
          </ac:picMkLst>
        </pc:picChg>
        <pc:picChg chg="add del mod">
          <ac:chgData name="Koen Verbeeck" userId="24d0e79a7fd977da" providerId="LiveId" clId="{BA62A9EE-AA9E-47FB-8CAA-896EFD47EA90}" dt="2022-03-26T22:00:10.887" v="2141" actId="27803"/>
          <ac:picMkLst>
            <pc:docMk/>
            <pc:sldMk cId="2619988835" sldId="257"/>
            <ac:picMk id="23" creationId="{BFF25780-A8C4-4535-819C-7DA44AC5906F}"/>
          </ac:picMkLst>
        </pc:picChg>
        <pc:picChg chg="add mod">
          <ac:chgData name="Koen Verbeeck" userId="24d0e79a7fd977da" providerId="LiveId" clId="{BA62A9EE-AA9E-47FB-8CAA-896EFD47EA90}" dt="2022-03-26T22:01:40.507" v="2227" actId="1076"/>
          <ac:picMkLst>
            <pc:docMk/>
            <pc:sldMk cId="2619988835" sldId="257"/>
            <ac:picMk id="1026" creationId="{5EC29D78-2384-45FC-B6AF-C98114F50823}"/>
          </ac:picMkLst>
        </pc:picChg>
        <pc:picChg chg="add del">
          <ac:chgData name="Koen Verbeeck" userId="24d0e79a7fd977da" providerId="LiveId" clId="{BA62A9EE-AA9E-47FB-8CAA-896EFD47EA90}" dt="2022-03-26T21:55:40.778" v="2090" actId="478"/>
          <ac:picMkLst>
            <pc:docMk/>
            <pc:sldMk cId="2619988835" sldId="257"/>
            <ac:picMk id="1028" creationId="{A2891899-7847-4B61-BD9B-6CFD1C8AE4B8}"/>
          </ac:picMkLst>
        </pc:picChg>
        <pc:picChg chg="add mod">
          <ac:chgData name="Koen Verbeeck" userId="24d0e79a7fd977da" providerId="LiveId" clId="{BA62A9EE-AA9E-47FB-8CAA-896EFD47EA90}" dt="2022-03-26T22:01:28.605" v="2225" actId="1036"/>
          <ac:picMkLst>
            <pc:docMk/>
            <pc:sldMk cId="2619988835" sldId="257"/>
            <ac:picMk id="1030" creationId="{ABD504F5-71D8-476F-9098-E5AC76643515}"/>
          </ac:picMkLst>
        </pc:picChg>
        <pc:picChg chg="add mod">
          <ac:chgData name="Koen Verbeeck" userId="24d0e79a7fd977da" providerId="LiveId" clId="{BA62A9EE-AA9E-47FB-8CAA-896EFD47EA90}" dt="2022-03-26T22:01:28.605" v="2225" actId="1036"/>
          <ac:picMkLst>
            <pc:docMk/>
            <pc:sldMk cId="2619988835" sldId="257"/>
            <ac:picMk id="1032" creationId="{1A0F28DB-B120-4149-A9BF-B5891541B45A}"/>
          </ac:picMkLst>
        </pc:picChg>
      </pc:sldChg>
      <pc:sldChg chg="addSp delSp modSp new mod modClrScheme chgLayout">
        <pc:chgData name="Koen Verbeeck" userId="24d0e79a7fd977da" providerId="LiveId" clId="{BA62A9EE-AA9E-47FB-8CAA-896EFD47EA90}" dt="2022-03-26T22:03:11.220" v="2235" actId="20577"/>
        <pc:sldMkLst>
          <pc:docMk/>
          <pc:sldMk cId="2581095964" sldId="258"/>
        </pc:sldMkLst>
        <pc:spChg chg="del mod ord">
          <ac:chgData name="Koen Verbeeck" userId="24d0e79a7fd977da" providerId="LiveId" clId="{BA62A9EE-AA9E-47FB-8CAA-896EFD47EA90}" dt="2022-03-25T17:12:41.045" v="522" actId="700"/>
          <ac:spMkLst>
            <pc:docMk/>
            <pc:sldMk cId="2581095964" sldId="258"/>
            <ac:spMk id="2" creationId="{954B0EC6-A673-4999-BA84-66200B83F486}"/>
          </ac:spMkLst>
        </pc:spChg>
        <pc:spChg chg="add mod ord">
          <ac:chgData name="Koen Verbeeck" userId="24d0e79a7fd977da" providerId="LiveId" clId="{BA62A9EE-AA9E-47FB-8CAA-896EFD47EA90}" dt="2022-03-26T22:03:11.220" v="2235" actId="20577"/>
          <ac:spMkLst>
            <pc:docMk/>
            <pc:sldMk cId="2581095964" sldId="258"/>
            <ac:spMk id="3" creationId="{E30B25E8-65B9-4D76-ABEF-D4D1D4BC2928}"/>
          </ac:spMkLst>
        </pc:spChg>
        <pc:spChg chg="add del mod ord">
          <ac:chgData name="Koen Verbeeck" userId="24d0e79a7fd977da" providerId="LiveId" clId="{BA62A9EE-AA9E-47FB-8CAA-896EFD47EA90}" dt="2022-03-25T17:12:58.770" v="559" actId="478"/>
          <ac:spMkLst>
            <pc:docMk/>
            <pc:sldMk cId="2581095964" sldId="258"/>
            <ac:spMk id="4" creationId="{8D21A62C-3CF3-4D2B-B6A6-1E443C2F0C1A}"/>
          </ac:spMkLst>
        </pc:spChg>
      </pc:sldChg>
      <pc:sldChg chg="addSp delSp modSp new mod modClrScheme chgLayout">
        <pc:chgData name="Koen Verbeeck" userId="24d0e79a7fd977da" providerId="LiveId" clId="{BA62A9EE-AA9E-47FB-8CAA-896EFD47EA90}" dt="2022-03-25T17:16:38.163" v="597" actId="14100"/>
        <pc:sldMkLst>
          <pc:docMk/>
          <pc:sldMk cId="3548615034" sldId="259"/>
        </pc:sldMkLst>
        <pc:spChg chg="del mod ord">
          <ac:chgData name="Koen Verbeeck" userId="24d0e79a7fd977da" providerId="LiveId" clId="{BA62A9EE-AA9E-47FB-8CAA-896EFD47EA90}" dt="2022-03-25T17:14:29.981" v="569" actId="700"/>
          <ac:spMkLst>
            <pc:docMk/>
            <pc:sldMk cId="3548615034" sldId="259"/>
            <ac:spMk id="2" creationId="{41CD80FB-9F3F-4CB7-B8D8-260E75A867DF}"/>
          </ac:spMkLst>
        </pc:spChg>
        <pc:spChg chg="del">
          <ac:chgData name="Koen Verbeeck" userId="24d0e79a7fd977da" providerId="LiveId" clId="{BA62A9EE-AA9E-47FB-8CAA-896EFD47EA90}" dt="2022-03-25T17:14:29.981" v="569" actId="700"/>
          <ac:spMkLst>
            <pc:docMk/>
            <pc:sldMk cId="3548615034" sldId="259"/>
            <ac:spMk id="3" creationId="{4D63B24D-43E6-4315-A5F7-68165780621B}"/>
          </ac:spMkLst>
        </pc:spChg>
        <pc:spChg chg="add mod ord">
          <ac:chgData name="Koen Verbeeck" userId="24d0e79a7fd977da" providerId="LiveId" clId="{BA62A9EE-AA9E-47FB-8CAA-896EFD47EA90}" dt="2022-03-25T17:16:38.163" v="597" actId="14100"/>
          <ac:spMkLst>
            <pc:docMk/>
            <pc:sldMk cId="3548615034" sldId="259"/>
            <ac:spMk id="4" creationId="{7574E7B1-E79F-43CA-859E-52003EED33E0}"/>
          </ac:spMkLst>
        </pc:spChg>
      </pc:sldChg>
      <pc:sldChg chg="modSp add mod">
        <pc:chgData name="Koen Verbeeck" userId="24d0e79a7fd977da" providerId="LiveId" clId="{BA62A9EE-AA9E-47FB-8CAA-896EFD47EA90}" dt="2022-03-25T17:19:53.516" v="607" actId="403"/>
        <pc:sldMkLst>
          <pc:docMk/>
          <pc:sldMk cId="4099760080" sldId="260"/>
        </pc:sldMkLst>
        <pc:spChg chg="mod">
          <ac:chgData name="Koen Verbeeck" userId="24d0e79a7fd977da" providerId="LiveId" clId="{BA62A9EE-AA9E-47FB-8CAA-896EFD47EA90}" dt="2022-03-25T17:19:53.516" v="607" actId="403"/>
          <ac:spMkLst>
            <pc:docMk/>
            <pc:sldMk cId="4099760080" sldId="260"/>
            <ac:spMk id="4" creationId="{7574E7B1-E79F-43CA-859E-52003EED33E0}"/>
          </ac:spMkLst>
        </pc:spChg>
      </pc:sldChg>
      <pc:sldChg chg="addSp delSp modSp new mod modClrScheme chgLayout modNotesTx">
        <pc:chgData name="Koen Verbeeck" userId="24d0e79a7fd977da" providerId="LiveId" clId="{BA62A9EE-AA9E-47FB-8CAA-896EFD47EA90}" dt="2022-03-25T17:38:29.130" v="745" actId="20577"/>
        <pc:sldMkLst>
          <pc:docMk/>
          <pc:sldMk cId="566324108" sldId="261"/>
        </pc:sldMkLst>
        <pc:spChg chg="del mod ord">
          <ac:chgData name="Koen Verbeeck" userId="24d0e79a7fd977da" providerId="LiveId" clId="{BA62A9EE-AA9E-47FB-8CAA-896EFD47EA90}" dt="2022-03-25T17:21:23.200" v="609" actId="700"/>
          <ac:spMkLst>
            <pc:docMk/>
            <pc:sldMk cId="566324108" sldId="261"/>
            <ac:spMk id="2" creationId="{48FC7353-59ED-48BC-A58C-4B2AC30C683E}"/>
          </ac:spMkLst>
        </pc:spChg>
        <pc:spChg chg="add mod ord">
          <ac:chgData name="Koen Verbeeck" userId="24d0e79a7fd977da" providerId="LiveId" clId="{BA62A9EE-AA9E-47FB-8CAA-896EFD47EA90}" dt="2022-03-25T17:21:23.200" v="609" actId="700"/>
          <ac:spMkLst>
            <pc:docMk/>
            <pc:sldMk cId="566324108" sldId="261"/>
            <ac:spMk id="3" creationId="{2F3A1591-D95D-4EAC-8412-2C0D3C993CC7}"/>
          </ac:spMkLst>
        </pc:spChg>
        <pc:picChg chg="add mod">
          <ac:chgData name="Koen Verbeeck" userId="24d0e79a7fd977da" providerId="LiveId" clId="{BA62A9EE-AA9E-47FB-8CAA-896EFD47EA90}" dt="2022-03-25T17:32:42.777" v="644" actId="14100"/>
          <ac:picMkLst>
            <pc:docMk/>
            <pc:sldMk cId="566324108" sldId="261"/>
            <ac:picMk id="5" creationId="{B33B15B4-CFC1-48E5-8CFA-4A413914C5DF}"/>
          </ac:picMkLst>
        </pc:picChg>
      </pc:sldChg>
      <pc:sldChg chg="addSp new mod">
        <pc:chgData name="Koen Verbeeck" userId="24d0e79a7fd977da" providerId="LiveId" clId="{BA62A9EE-AA9E-47FB-8CAA-896EFD47EA90}" dt="2022-03-25T17:29:17.239" v="632" actId="22"/>
        <pc:sldMkLst>
          <pc:docMk/>
          <pc:sldMk cId="807293465" sldId="262"/>
        </pc:sldMkLst>
        <pc:picChg chg="add">
          <ac:chgData name="Koen Verbeeck" userId="24d0e79a7fd977da" providerId="LiveId" clId="{BA62A9EE-AA9E-47FB-8CAA-896EFD47EA90}" dt="2022-03-25T17:29:17.239" v="632" actId="22"/>
          <ac:picMkLst>
            <pc:docMk/>
            <pc:sldMk cId="807293465" sldId="262"/>
            <ac:picMk id="4" creationId="{B0732EC2-931C-42A2-96C1-BD629F71A5DC}"/>
          </ac:picMkLst>
        </pc:picChg>
      </pc:sldChg>
      <pc:sldChg chg="addSp modSp new mod">
        <pc:chgData name="Koen Verbeeck" userId="24d0e79a7fd977da" providerId="LiveId" clId="{BA62A9EE-AA9E-47FB-8CAA-896EFD47EA90}" dt="2022-03-25T17:33:00.192" v="648" actId="1076"/>
        <pc:sldMkLst>
          <pc:docMk/>
          <pc:sldMk cId="2814818433" sldId="263"/>
        </pc:sldMkLst>
        <pc:picChg chg="add mod">
          <ac:chgData name="Koen Verbeeck" userId="24d0e79a7fd977da" providerId="LiveId" clId="{BA62A9EE-AA9E-47FB-8CAA-896EFD47EA90}" dt="2022-03-25T17:33:00.192" v="648" actId="1076"/>
          <ac:picMkLst>
            <pc:docMk/>
            <pc:sldMk cId="2814818433" sldId="263"/>
            <ac:picMk id="4" creationId="{E1F5CD5C-8CDE-421B-87C9-F57C6E98B22A}"/>
          </ac:picMkLst>
        </pc:picChg>
      </pc:sldChg>
      <pc:sldChg chg="addSp delSp modSp new mod modAnim">
        <pc:chgData name="Koen Verbeeck" userId="24d0e79a7fd977da" providerId="LiveId" clId="{BA62A9EE-AA9E-47FB-8CAA-896EFD47EA90}" dt="2022-03-25T17:37:21.635" v="699"/>
        <pc:sldMkLst>
          <pc:docMk/>
          <pc:sldMk cId="904863299" sldId="264"/>
        </pc:sldMkLst>
        <pc:spChg chg="add mod">
          <ac:chgData name="Koen Verbeeck" userId="24d0e79a7fd977da" providerId="LiveId" clId="{BA62A9EE-AA9E-47FB-8CAA-896EFD47EA90}" dt="2022-03-25T17:34:47.315" v="666" actId="692"/>
          <ac:spMkLst>
            <pc:docMk/>
            <pc:sldMk cId="904863299" sldId="264"/>
            <ac:spMk id="7" creationId="{B44F44E9-D3F4-412F-9172-2C2CAC6013E0}"/>
          </ac:spMkLst>
        </pc:spChg>
        <pc:spChg chg="add mod">
          <ac:chgData name="Koen Verbeeck" userId="24d0e79a7fd977da" providerId="LiveId" clId="{BA62A9EE-AA9E-47FB-8CAA-896EFD47EA90}" dt="2022-03-25T17:36:02.828" v="691" actId="14100"/>
          <ac:spMkLst>
            <pc:docMk/>
            <pc:sldMk cId="904863299" sldId="264"/>
            <ac:spMk id="8" creationId="{D3EA0A81-1877-405F-AAA1-0A01F4C35876}"/>
          </ac:spMkLst>
        </pc:spChg>
        <pc:picChg chg="add del mod">
          <ac:chgData name="Koen Verbeeck" userId="24d0e79a7fd977da" providerId="LiveId" clId="{BA62A9EE-AA9E-47FB-8CAA-896EFD47EA90}" dt="2022-03-25T17:32:06.572" v="639" actId="22"/>
          <ac:picMkLst>
            <pc:docMk/>
            <pc:sldMk cId="904863299" sldId="264"/>
            <ac:picMk id="4" creationId="{1F17E675-A47F-45C7-8C37-3397F342C645}"/>
          </ac:picMkLst>
        </pc:picChg>
        <pc:picChg chg="add del mod">
          <ac:chgData name="Koen Verbeeck" userId="24d0e79a7fd977da" providerId="LiveId" clId="{BA62A9EE-AA9E-47FB-8CAA-896EFD47EA90}" dt="2022-03-25T17:33:49.815" v="653" actId="14100"/>
          <ac:picMkLst>
            <pc:docMk/>
            <pc:sldMk cId="904863299" sldId="264"/>
            <ac:picMk id="6" creationId="{5507B04E-3B4C-4D19-9B64-C67CF2DCF5B6}"/>
          </ac:picMkLst>
        </pc:picChg>
        <pc:cxnChg chg="add mod">
          <ac:chgData name="Koen Verbeeck" userId="24d0e79a7fd977da" providerId="LiveId" clId="{BA62A9EE-AA9E-47FB-8CAA-896EFD47EA90}" dt="2022-03-25T17:37:09.383" v="698" actId="692"/>
          <ac:cxnSpMkLst>
            <pc:docMk/>
            <pc:sldMk cId="904863299" sldId="264"/>
            <ac:cxnSpMk id="10" creationId="{2DCD8F77-C336-4F55-95B2-809BADF0ED9A}"/>
          </ac:cxnSpMkLst>
        </pc:cxnChg>
      </pc:sldChg>
      <pc:sldChg chg="modSp add mod">
        <pc:chgData name="Koen Verbeeck" userId="24d0e79a7fd977da" providerId="LiveId" clId="{BA62A9EE-AA9E-47FB-8CAA-896EFD47EA90}" dt="2022-03-26T22:03:06.506" v="2233" actId="20577"/>
        <pc:sldMkLst>
          <pc:docMk/>
          <pc:sldMk cId="3509147678" sldId="265"/>
        </pc:sldMkLst>
        <pc:spChg chg="mod">
          <ac:chgData name="Koen Verbeeck" userId="24d0e79a7fd977da" providerId="LiveId" clId="{BA62A9EE-AA9E-47FB-8CAA-896EFD47EA90}" dt="2022-03-26T22:03:06.506" v="2233" actId="20577"/>
          <ac:spMkLst>
            <pc:docMk/>
            <pc:sldMk cId="3509147678" sldId="265"/>
            <ac:spMk id="3" creationId="{E30B25E8-65B9-4D76-ABEF-D4D1D4BC2928}"/>
          </ac:spMkLst>
        </pc:spChg>
      </pc:sldChg>
      <pc:sldChg chg="addSp delSp modSp new mod modClrScheme chgLayout">
        <pc:chgData name="Koen Verbeeck" userId="24d0e79a7fd977da" providerId="LiveId" clId="{BA62A9EE-AA9E-47FB-8CAA-896EFD47EA90}" dt="2022-03-25T17:50:12.739" v="773" actId="22"/>
        <pc:sldMkLst>
          <pc:docMk/>
          <pc:sldMk cId="2615255687" sldId="266"/>
        </pc:sldMkLst>
        <pc:spChg chg="del mod ord">
          <ac:chgData name="Koen Verbeeck" userId="24d0e79a7fd977da" providerId="LiveId" clId="{BA62A9EE-AA9E-47FB-8CAA-896EFD47EA90}" dt="2022-03-25T17:47:06.020" v="764" actId="700"/>
          <ac:spMkLst>
            <pc:docMk/>
            <pc:sldMk cId="2615255687" sldId="266"/>
            <ac:spMk id="2" creationId="{4DA688F1-5521-4EEF-896F-4BFDDB1DCBE1}"/>
          </ac:spMkLst>
        </pc:spChg>
        <pc:spChg chg="del">
          <ac:chgData name="Koen Verbeeck" userId="24d0e79a7fd977da" providerId="LiveId" clId="{BA62A9EE-AA9E-47FB-8CAA-896EFD47EA90}" dt="2022-03-25T17:47:06.020" v="764" actId="700"/>
          <ac:spMkLst>
            <pc:docMk/>
            <pc:sldMk cId="2615255687" sldId="266"/>
            <ac:spMk id="3" creationId="{68083D08-77A4-4F99-BC91-865560D6B4EF}"/>
          </ac:spMkLst>
        </pc:spChg>
        <pc:spChg chg="add mod ord">
          <ac:chgData name="Koen Verbeeck" userId="24d0e79a7fd977da" providerId="LiveId" clId="{BA62A9EE-AA9E-47FB-8CAA-896EFD47EA90}" dt="2022-03-25T17:48:23.765" v="772" actId="20577"/>
          <ac:spMkLst>
            <pc:docMk/>
            <pc:sldMk cId="2615255687" sldId="266"/>
            <ac:spMk id="4" creationId="{14B0E3D4-8082-427F-90A5-FE1D732E5F77}"/>
          </ac:spMkLst>
        </pc:spChg>
        <pc:picChg chg="add">
          <ac:chgData name="Koen Verbeeck" userId="24d0e79a7fd977da" providerId="LiveId" clId="{BA62A9EE-AA9E-47FB-8CAA-896EFD47EA90}" dt="2022-03-25T17:50:12.739" v="773" actId="22"/>
          <ac:picMkLst>
            <pc:docMk/>
            <pc:sldMk cId="2615255687" sldId="266"/>
            <ac:picMk id="6" creationId="{39490285-7356-497A-B8CE-2162ACF44DEB}"/>
          </ac:picMkLst>
        </pc:picChg>
      </pc:sldChg>
      <pc:sldChg chg="addSp modSp new mod modNotesTx">
        <pc:chgData name="Koen Verbeeck" userId="24d0e79a7fd977da" providerId="LiveId" clId="{BA62A9EE-AA9E-47FB-8CAA-896EFD47EA90}" dt="2022-03-25T17:59:28.201" v="1003" actId="1076"/>
        <pc:sldMkLst>
          <pc:docMk/>
          <pc:sldMk cId="2204624217" sldId="267"/>
        </pc:sldMkLst>
        <pc:spChg chg="mod">
          <ac:chgData name="Koen Verbeeck" userId="24d0e79a7fd977da" providerId="LiveId" clId="{BA62A9EE-AA9E-47FB-8CAA-896EFD47EA90}" dt="2022-03-25T17:50:51.502" v="784" actId="20577"/>
          <ac:spMkLst>
            <pc:docMk/>
            <pc:sldMk cId="2204624217" sldId="267"/>
            <ac:spMk id="2" creationId="{095C49EF-DC1E-4214-92F9-3A70FA205E1A}"/>
          </ac:spMkLst>
        </pc:spChg>
        <pc:picChg chg="add mod">
          <ac:chgData name="Koen Verbeeck" userId="24d0e79a7fd977da" providerId="LiveId" clId="{BA62A9EE-AA9E-47FB-8CAA-896EFD47EA90}" dt="2022-03-25T17:55:32.235" v="989" actId="1076"/>
          <ac:picMkLst>
            <pc:docMk/>
            <pc:sldMk cId="2204624217" sldId="267"/>
            <ac:picMk id="4" creationId="{70B9BB35-4FF5-4283-BF55-8568F0BF5705}"/>
          </ac:picMkLst>
        </pc:picChg>
        <pc:picChg chg="add mod">
          <ac:chgData name="Koen Verbeeck" userId="24d0e79a7fd977da" providerId="LiveId" clId="{BA62A9EE-AA9E-47FB-8CAA-896EFD47EA90}" dt="2022-03-25T17:59:14.058" v="1002" actId="1076"/>
          <ac:picMkLst>
            <pc:docMk/>
            <pc:sldMk cId="2204624217" sldId="267"/>
            <ac:picMk id="6" creationId="{A7F77FBC-6066-4F7F-AF20-7B22C2B6688F}"/>
          </ac:picMkLst>
        </pc:picChg>
        <pc:picChg chg="add mod">
          <ac:chgData name="Koen Verbeeck" userId="24d0e79a7fd977da" providerId="LiveId" clId="{BA62A9EE-AA9E-47FB-8CAA-896EFD47EA90}" dt="2022-03-25T17:59:10.115" v="1001" actId="1076"/>
          <ac:picMkLst>
            <pc:docMk/>
            <pc:sldMk cId="2204624217" sldId="267"/>
            <ac:picMk id="8" creationId="{75092313-82F3-4012-99FF-703D72AB8641}"/>
          </ac:picMkLst>
        </pc:picChg>
        <pc:picChg chg="add mod">
          <ac:chgData name="Koen Verbeeck" userId="24d0e79a7fd977da" providerId="LiveId" clId="{BA62A9EE-AA9E-47FB-8CAA-896EFD47EA90}" dt="2022-03-25T17:59:28.201" v="1003" actId="1076"/>
          <ac:picMkLst>
            <pc:docMk/>
            <pc:sldMk cId="2204624217" sldId="267"/>
            <ac:picMk id="10" creationId="{BDE343F9-2BB7-4094-842C-AC24FD5DA613}"/>
          </ac:picMkLst>
        </pc:picChg>
      </pc:sldChg>
      <pc:sldChg chg="addSp modSp new mod modAnim">
        <pc:chgData name="Koen Verbeeck" userId="24d0e79a7fd977da" providerId="LiveId" clId="{BA62A9EE-AA9E-47FB-8CAA-896EFD47EA90}" dt="2022-03-25T18:08:52.072" v="1029"/>
        <pc:sldMkLst>
          <pc:docMk/>
          <pc:sldMk cId="3008762868" sldId="268"/>
        </pc:sldMkLst>
        <pc:spChg chg="mod">
          <ac:chgData name="Koen Verbeeck" userId="24d0e79a7fd977da" providerId="LiveId" clId="{BA62A9EE-AA9E-47FB-8CAA-896EFD47EA90}" dt="2022-03-25T18:00:42.062" v="1014" actId="20577"/>
          <ac:spMkLst>
            <pc:docMk/>
            <pc:sldMk cId="3008762868" sldId="268"/>
            <ac:spMk id="2" creationId="{691B217C-A79F-409C-9930-30FA7FAA750D}"/>
          </ac:spMkLst>
        </pc:spChg>
        <pc:picChg chg="add mod">
          <ac:chgData name="Koen Verbeeck" userId="24d0e79a7fd977da" providerId="LiveId" clId="{BA62A9EE-AA9E-47FB-8CAA-896EFD47EA90}" dt="2022-03-25T18:02:33.761" v="1021" actId="14100"/>
          <ac:picMkLst>
            <pc:docMk/>
            <pc:sldMk cId="3008762868" sldId="268"/>
            <ac:picMk id="4" creationId="{1C5920A2-CD70-4428-9988-4757F0B0AF93}"/>
          </ac:picMkLst>
        </pc:picChg>
        <pc:picChg chg="add mod">
          <ac:chgData name="Koen Verbeeck" userId="24d0e79a7fd977da" providerId="LiveId" clId="{BA62A9EE-AA9E-47FB-8CAA-896EFD47EA90}" dt="2022-03-25T18:05:00.980" v="1024" actId="14100"/>
          <ac:picMkLst>
            <pc:docMk/>
            <pc:sldMk cId="3008762868" sldId="268"/>
            <ac:picMk id="6" creationId="{2D417D4B-2C16-4270-B9B3-6993DA291F97}"/>
          </ac:picMkLst>
        </pc:picChg>
        <pc:picChg chg="add mod">
          <ac:chgData name="Koen Verbeeck" userId="24d0e79a7fd977da" providerId="LiveId" clId="{BA62A9EE-AA9E-47FB-8CAA-896EFD47EA90}" dt="2022-03-25T18:08:40.867" v="1027" actId="1076"/>
          <ac:picMkLst>
            <pc:docMk/>
            <pc:sldMk cId="3008762868" sldId="268"/>
            <ac:picMk id="12290" creationId="{144069A3-23C1-4F21-96F3-C35DDEB5491E}"/>
          </ac:picMkLst>
        </pc:picChg>
      </pc:sldChg>
      <pc:sldChg chg="addSp modSp new mod">
        <pc:chgData name="Koen Verbeeck" userId="24d0e79a7fd977da" providerId="LiveId" clId="{BA62A9EE-AA9E-47FB-8CAA-896EFD47EA90}" dt="2022-03-25T18:11:19.590" v="1047" actId="1076"/>
        <pc:sldMkLst>
          <pc:docMk/>
          <pc:sldMk cId="2211947023" sldId="269"/>
        </pc:sldMkLst>
        <pc:spChg chg="mod">
          <ac:chgData name="Koen Verbeeck" userId="24d0e79a7fd977da" providerId="LiveId" clId="{BA62A9EE-AA9E-47FB-8CAA-896EFD47EA90}" dt="2022-03-25T18:09:50.241" v="1045" actId="20577"/>
          <ac:spMkLst>
            <pc:docMk/>
            <pc:sldMk cId="2211947023" sldId="269"/>
            <ac:spMk id="2" creationId="{8C3A86DD-F086-4298-BB14-42F71F0DCE47}"/>
          </ac:spMkLst>
        </pc:spChg>
        <pc:picChg chg="add mod">
          <ac:chgData name="Koen Verbeeck" userId="24d0e79a7fd977da" providerId="LiveId" clId="{BA62A9EE-AA9E-47FB-8CAA-896EFD47EA90}" dt="2022-03-25T18:11:19.590" v="1047" actId="1076"/>
          <ac:picMkLst>
            <pc:docMk/>
            <pc:sldMk cId="2211947023" sldId="269"/>
            <ac:picMk id="4" creationId="{6C498F0E-BB5D-42CD-92BB-03DDD653D2A2}"/>
          </ac:picMkLst>
        </pc:picChg>
      </pc:sldChg>
      <pc:sldChg chg="addSp delSp modSp add mod">
        <pc:chgData name="Koen Verbeeck" userId="24d0e79a7fd977da" providerId="LiveId" clId="{BA62A9EE-AA9E-47FB-8CAA-896EFD47EA90}" dt="2022-03-27T10:53:28.390" v="3237" actId="1076"/>
        <pc:sldMkLst>
          <pc:docMk/>
          <pc:sldMk cId="4173516101" sldId="270"/>
        </pc:sldMkLst>
        <pc:picChg chg="del">
          <ac:chgData name="Koen Verbeeck" userId="24d0e79a7fd977da" providerId="LiveId" clId="{BA62A9EE-AA9E-47FB-8CAA-896EFD47EA90}" dt="2022-03-25T18:11:32.284" v="1049" actId="478"/>
          <ac:picMkLst>
            <pc:docMk/>
            <pc:sldMk cId="4173516101" sldId="270"/>
            <ac:picMk id="4" creationId="{6C498F0E-BB5D-42CD-92BB-03DDD653D2A2}"/>
          </ac:picMkLst>
        </pc:picChg>
        <pc:picChg chg="add mod modCrop">
          <ac:chgData name="Koen Verbeeck" userId="24d0e79a7fd977da" providerId="LiveId" clId="{BA62A9EE-AA9E-47FB-8CAA-896EFD47EA90}" dt="2022-03-27T10:53:22.439" v="3232" actId="1037"/>
          <ac:picMkLst>
            <pc:docMk/>
            <pc:sldMk cId="4173516101" sldId="270"/>
            <ac:picMk id="5" creationId="{5CDBFA6E-25CF-48B9-B85B-15329CCB09B6}"/>
          </ac:picMkLst>
        </pc:picChg>
        <pc:picChg chg="add mod">
          <ac:chgData name="Koen Verbeeck" userId="24d0e79a7fd977da" providerId="LiveId" clId="{BA62A9EE-AA9E-47FB-8CAA-896EFD47EA90}" dt="2022-03-27T10:53:28.390" v="3237" actId="1076"/>
          <ac:picMkLst>
            <pc:docMk/>
            <pc:sldMk cId="4173516101" sldId="270"/>
            <ac:picMk id="7" creationId="{26000A0A-4062-4755-AE60-133433A47F29}"/>
          </ac:picMkLst>
        </pc:picChg>
      </pc:sldChg>
      <pc:sldChg chg="addSp delSp modSp new mod modClrScheme modAnim chgLayout">
        <pc:chgData name="Koen Verbeeck" userId="24d0e79a7fd977da" providerId="LiveId" clId="{BA62A9EE-AA9E-47FB-8CAA-896EFD47EA90}" dt="2022-03-27T10:54:43.188" v="3244"/>
        <pc:sldMkLst>
          <pc:docMk/>
          <pc:sldMk cId="991887452" sldId="271"/>
        </pc:sldMkLst>
        <pc:spChg chg="mod ord">
          <ac:chgData name="Koen Verbeeck" userId="24d0e79a7fd977da" providerId="LiveId" clId="{BA62A9EE-AA9E-47FB-8CAA-896EFD47EA90}" dt="2022-03-25T18:22:39.174" v="1084" actId="700"/>
          <ac:spMkLst>
            <pc:docMk/>
            <pc:sldMk cId="991887452" sldId="271"/>
            <ac:spMk id="2" creationId="{988567B8-E257-4D8E-A2B8-8FC9E95FF1BD}"/>
          </ac:spMkLst>
        </pc:spChg>
        <pc:spChg chg="add mod ord">
          <ac:chgData name="Koen Verbeeck" userId="24d0e79a7fd977da" providerId="LiveId" clId="{BA62A9EE-AA9E-47FB-8CAA-896EFD47EA90}" dt="2022-03-27T10:53:46.060" v="3238" actId="20577"/>
          <ac:spMkLst>
            <pc:docMk/>
            <pc:sldMk cId="991887452" sldId="271"/>
            <ac:spMk id="5" creationId="{5F763203-6969-40DC-B9E9-127016AADC1E}"/>
          </ac:spMkLst>
        </pc:spChg>
        <pc:spChg chg="add mod">
          <ac:chgData name="Koen Verbeeck" userId="24d0e79a7fd977da" providerId="LiveId" clId="{BA62A9EE-AA9E-47FB-8CAA-896EFD47EA90}" dt="2022-03-27T10:54:38.101" v="3243" actId="14100"/>
          <ac:spMkLst>
            <pc:docMk/>
            <pc:sldMk cId="991887452" sldId="271"/>
            <ac:spMk id="10" creationId="{E281B462-5E98-416B-90AE-7560397FFE30}"/>
          </ac:spMkLst>
        </pc:spChg>
        <pc:picChg chg="add mod">
          <ac:chgData name="Koen Verbeeck" userId="24d0e79a7fd977da" providerId="LiveId" clId="{BA62A9EE-AA9E-47FB-8CAA-896EFD47EA90}" dt="2022-03-25T18:22:31.368" v="1083" actId="1076"/>
          <ac:picMkLst>
            <pc:docMk/>
            <pc:sldMk cId="991887452" sldId="271"/>
            <ac:picMk id="4" creationId="{F640852D-6A99-4BD2-82E6-95B24B4BE9A6}"/>
          </ac:picMkLst>
        </pc:picChg>
        <pc:picChg chg="add mod">
          <ac:chgData name="Koen Verbeeck" userId="24d0e79a7fd977da" providerId="LiveId" clId="{BA62A9EE-AA9E-47FB-8CAA-896EFD47EA90}" dt="2022-03-27T10:53:48.834" v="3239" actId="1076"/>
          <ac:picMkLst>
            <pc:docMk/>
            <pc:sldMk cId="991887452" sldId="271"/>
            <ac:picMk id="7" creationId="{27CE7436-D0CE-4FD9-8C38-1E5A7B7A7C04}"/>
          </ac:picMkLst>
        </pc:picChg>
        <pc:picChg chg="add del mod">
          <ac:chgData name="Koen Verbeeck" userId="24d0e79a7fd977da" providerId="LiveId" clId="{BA62A9EE-AA9E-47FB-8CAA-896EFD47EA90}" dt="2022-03-25T18:25:27.948" v="1209" actId="478"/>
          <ac:picMkLst>
            <pc:docMk/>
            <pc:sldMk cId="991887452" sldId="271"/>
            <ac:picMk id="9" creationId="{8360499F-25B4-4C05-8849-1EC7D7F18379}"/>
          </ac:picMkLst>
        </pc:picChg>
      </pc:sldChg>
      <pc:sldChg chg="addSp delSp modSp new mod modNotesTx">
        <pc:chgData name="Koen Verbeeck" userId="24d0e79a7fd977da" providerId="LiveId" clId="{BA62A9EE-AA9E-47FB-8CAA-896EFD47EA90}" dt="2022-03-27T10:55:35.155" v="3251" actId="1076"/>
        <pc:sldMkLst>
          <pc:docMk/>
          <pc:sldMk cId="2074756256" sldId="272"/>
        </pc:sldMkLst>
        <pc:spChg chg="mod">
          <ac:chgData name="Koen Verbeeck" userId="24d0e79a7fd977da" providerId="LiveId" clId="{BA62A9EE-AA9E-47FB-8CAA-896EFD47EA90}" dt="2022-03-25T18:26:28.928" v="1223" actId="20577"/>
          <ac:spMkLst>
            <pc:docMk/>
            <pc:sldMk cId="2074756256" sldId="272"/>
            <ac:spMk id="2" creationId="{C457C111-25F2-4CAA-AE4D-C0EDFE78121A}"/>
          </ac:spMkLst>
        </pc:spChg>
        <pc:spChg chg="del mod">
          <ac:chgData name="Koen Verbeeck" userId="24d0e79a7fd977da" providerId="LiveId" clId="{BA62A9EE-AA9E-47FB-8CAA-896EFD47EA90}" dt="2022-03-27T10:55:23.613" v="3249" actId="478"/>
          <ac:spMkLst>
            <pc:docMk/>
            <pc:sldMk cId="2074756256" sldId="272"/>
            <ac:spMk id="3" creationId="{824AA2E3-3A2C-4C68-A232-5E0EB4CCD683}"/>
          </ac:spMkLst>
        </pc:spChg>
        <pc:picChg chg="add mod">
          <ac:chgData name="Koen Verbeeck" userId="24d0e79a7fd977da" providerId="LiveId" clId="{BA62A9EE-AA9E-47FB-8CAA-896EFD47EA90}" dt="2022-03-27T10:55:35.155" v="3251" actId="1076"/>
          <ac:picMkLst>
            <pc:docMk/>
            <pc:sldMk cId="2074756256" sldId="272"/>
            <ac:picMk id="5" creationId="{1A4576F3-24A7-4DEC-B856-00509A09FD37}"/>
          </ac:picMkLst>
        </pc:picChg>
      </pc:sldChg>
      <pc:sldChg chg="addSp delSp modSp new mod modClrScheme chgLayout">
        <pc:chgData name="Koen Verbeeck" userId="24d0e79a7fd977da" providerId="LiveId" clId="{BA62A9EE-AA9E-47FB-8CAA-896EFD47EA90}" dt="2022-03-25T18:34:12.068" v="1274" actId="27636"/>
        <pc:sldMkLst>
          <pc:docMk/>
          <pc:sldMk cId="1810463862" sldId="273"/>
        </pc:sldMkLst>
        <pc:spChg chg="del mod ord">
          <ac:chgData name="Koen Verbeeck" userId="24d0e79a7fd977da" providerId="LiveId" clId="{BA62A9EE-AA9E-47FB-8CAA-896EFD47EA90}" dt="2022-03-25T18:34:03.207" v="1259" actId="700"/>
          <ac:spMkLst>
            <pc:docMk/>
            <pc:sldMk cId="1810463862" sldId="273"/>
            <ac:spMk id="2" creationId="{08205C81-C87B-4ED0-82D9-A516CE40DF5B}"/>
          </ac:spMkLst>
        </pc:spChg>
        <pc:spChg chg="del mod ord">
          <ac:chgData name="Koen Verbeeck" userId="24d0e79a7fd977da" providerId="LiveId" clId="{BA62A9EE-AA9E-47FB-8CAA-896EFD47EA90}" dt="2022-03-25T18:34:03.207" v="1259" actId="700"/>
          <ac:spMkLst>
            <pc:docMk/>
            <pc:sldMk cId="1810463862" sldId="273"/>
            <ac:spMk id="3" creationId="{7AC0582E-7217-4944-B39D-E9D61A7ABA3D}"/>
          </ac:spMkLst>
        </pc:spChg>
        <pc:spChg chg="add mod ord">
          <ac:chgData name="Koen Verbeeck" userId="24d0e79a7fd977da" providerId="LiveId" clId="{BA62A9EE-AA9E-47FB-8CAA-896EFD47EA90}" dt="2022-03-25T18:34:12.068" v="1274" actId="27636"/>
          <ac:spMkLst>
            <pc:docMk/>
            <pc:sldMk cId="1810463862" sldId="273"/>
            <ac:spMk id="4" creationId="{2A00F838-93BD-46A0-9675-42AED121CE64}"/>
          </ac:spMkLst>
        </pc:spChg>
        <pc:spChg chg="add mod ord">
          <ac:chgData name="Koen Verbeeck" userId="24d0e79a7fd977da" providerId="LiveId" clId="{BA62A9EE-AA9E-47FB-8CAA-896EFD47EA90}" dt="2022-03-25T18:34:03.207" v="1259" actId="700"/>
          <ac:spMkLst>
            <pc:docMk/>
            <pc:sldMk cId="1810463862" sldId="273"/>
            <ac:spMk id="5" creationId="{6E0D2489-6A42-4C2F-AC08-FE9B6654986E}"/>
          </ac:spMkLst>
        </pc:spChg>
      </pc:sldChg>
      <pc:sldChg chg="addSp delSp modSp new mod modClrScheme modAnim chgLayout">
        <pc:chgData name="Koen Verbeeck" userId="24d0e79a7fd977da" providerId="LiveId" clId="{BA62A9EE-AA9E-47FB-8CAA-896EFD47EA90}" dt="2022-03-27T20:34:33.037" v="3266"/>
        <pc:sldMkLst>
          <pc:docMk/>
          <pc:sldMk cId="2105817070" sldId="274"/>
        </pc:sldMkLst>
        <pc:spChg chg="del mod ord">
          <ac:chgData name="Koen Verbeeck" userId="24d0e79a7fd977da" providerId="LiveId" clId="{BA62A9EE-AA9E-47FB-8CAA-896EFD47EA90}" dt="2022-03-25T18:45:26.248" v="1276" actId="700"/>
          <ac:spMkLst>
            <pc:docMk/>
            <pc:sldMk cId="2105817070" sldId="274"/>
            <ac:spMk id="2" creationId="{66552080-98B8-457F-8B4A-97F0F6D948C6}"/>
          </ac:spMkLst>
        </pc:spChg>
        <pc:spChg chg="del mod ord">
          <ac:chgData name="Koen Verbeeck" userId="24d0e79a7fd977da" providerId="LiveId" clId="{BA62A9EE-AA9E-47FB-8CAA-896EFD47EA90}" dt="2022-03-25T18:45:26.248" v="1276" actId="700"/>
          <ac:spMkLst>
            <pc:docMk/>
            <pc:sldMk cId="2105817070" sldId="274"/>
            <ac:spMk id="3" creationId="{2F452D3E-12F9-445A-8248-66FDEE663BCE}"/>
          </ac:spMkLst>
        </pc:spChg>
        <pc:spChg chg="add mod ord">
          <ac:chgData name="Koen Verbeeck" userId="24d0e79a7fd977da" providerId="LiveId" clId="{BA62A9EE-AA9E-47FB-8CAA-896EFD47EA90}" dt="2022-03-25T18:45:31.008" v="1296" actId="20577"/>
          <ac:spMkLst>
            <pc:docMk/>
            <pc:sldMk cId="2105817070" sldId="274"/>
            <ac:spMk id="4" creationId="{916ADEBB-90B2-4F48-8149-EDC71591B6B8}"/>
          </ac:spMkLst>
        </pc:spChg>
        <pc:spChg chg="add del mod ord">
          <ac:chgData name="Koen Verbeeck" userId="24d0e79a7fd977da" providerId="LiveId" clId="{BA62A9EE-AA9E-47FB-8CAA-896EFD47EA90}" dt="2022-03-25T18:47:27.883" v="1307" actId="478"/>
          <ac:spMkLst>
            <pc:docMk/>
            <pc:sldMk cId="2105817070" sldId="274"/>
            <ac:spMk id="5" creationId="{0441DB92-3E64-4835-806F-172B7C2B48BB}"/>
          </ac:spMkLst>
        </pc:spChg>
        <pc:picChg chg="add mod modCrop">
          <ac:chgData name="Koen Verbeeck" userId="24d0e79a7fd977da" providerId="LiveId" clId="{BA62A9EE-AA9E-47FB-8CAA-896EFD47EA90}" dt="2022-03-27T10:56:33.030" v="3263" actId="732"/>
          <ac:picMkLst>
            <pc:docMk/>
            <pc:sldMk cId="2105817070" sldId="274"/>
            <ac:picMk id="7" creationId="{2831CA8E-D508-4BF9-B19E-09A09529A037}"/>
          </ac:picMkLst>
        </pc:picChg>
        <pc:picChg chg="add mod modCrop">
          <ac:chgData name="Koen Verbeeck" userId="24d0e79a7fd977da" providerId="LiveId" clId="{BA62A9EE-AA9E-47FB-8CAA-896EFD47EA90}" dt="2022-03-27T10:56:25.109" v="3262" actId="1076"/>
          <ac:picMkLst>
            <pc:docMk/>
            <pc:sldMk cId="2105817070" sldId="274"/>
            <ac:picMk id="9" creationId="{BEE59D8E-F8F9-456D-A6D8-47B4B270CD85}"/>
          </ac:picMkLst>
        </pc:picChg>
        <pc:picChg chg="add mod">
          <ac:chgData name="Koen Verbeeck" userId="24d0e79a7fd977da" providerId="LiveId" clId="{BA62A9EE-AA9E-47FB-8CAA-896EFD47EA90}" dt="2022-03-27T10:55:56.300" v="3258" actId="1035"/>
          <ac:picMkLst>
            <pc:docMk/>
            <pc:sldMk cId="2105817070" sldId="274"/>
            <ac:picMk id="11" creationId="{A44F6488-E25E-479E-A014-773F34F7BFC5}"/>
          </ac:picMkLst>
        </pc:picChg>
        <pc:picChg chg="add mod">
          <ac:chgData name="Koen Verbeeck" userId="24d0e79a7fd977da" providerId="LiveId" clId="{BA62A9EE-AA9E-47FB-8CAA-896EFD47EA90}" dt="2022-03-25T18:51:11.995" v="1323" actId="14100"/>
          <ac:picMkLst>
            <pc:docMk/>
            <pc:sldMk cId="2105817070" sldId="274"/>
            <ac:picMk id="13" creationId="{3EA4FBC1-18BF-4FD0-B517-5BE6E6AE5B78}"/>
          </ac:picMkLst>
        </pc:picChg>
      </pc:sldChg>
      <pc:sldChg chg="addSp delSp modSp new mod">
        <pc:chgData name="Koen Verbeeck" userId="24d0e79a7fd977da" providerId="LiveId" clId="{BA62A9EE-AA9E-47FB-8CAA-896EFD47EA90}" dt="2022-03-27T20:35:55.674" v="3276" actId="1076"/>
        <pc:sldMkLst>
          <pc:docMk/>
          <pc:sldMk cId="3993369766" sldId="275"/>
        </pc:sldMkLst>
        <pc:spChg chg="mod">
          <ac:chgData name="Koen Verbeeck" userId="24d0e79a7fd977da" providerId="LiveId" clId="{BA62A9EE-AA9E-47FB-8CAA-896EFD47EA90}" dt="2022-03-25T18:51:54.756" v="1332" actId="20577"/>
          <ac:spMkLst>
            <pc:docMk/>
            <pc:sldMk cId="3993369766" sldId="275"/>
            <ac:spMk id="2" creationId="{D6CE0128-35AD-4C5E-95D6-2D3AF6D8E665}"/>
          </ac:spMkLst>
        </pc:spChg>
        <pc:spChg chg="del">
          <ac:chgData name="Koen Verbeeck" userId="24d0e79a7fd977da" providerId="LiveId" clId="{BA62A9EE-AA9E-47FB-8CAA-896EFD47EA90}" dt="2022-03-25T18:53:42.493" v="1336" actId="478"/>
          <ac:spMkLst>
            <pc:docMk/>
            <pc:sldMk cId="3993369766" sldId="275"/>
            <ac:spMk id="3" creationId="{13575D4A-4143-410C-96CE-C9429166C027}"/>
          </ac:spMkLst>
        </pc:spChg>
        <pc:picChg chg="add mod">
          <ac:chgData name="Koen Verbeeck" userId="24d0e79a7fd977da" providerId="LiveId" clId="{BA62A9EE-AA9E-47FB-8CAA-896EFD47EA90}" dt="2022-03-27T20:35:13.753" v="3269" actId="14100"/>
          <ac:picMkLst>
            <pc:docMk/>
            <pc:sldMk cId="3993369766" sldId="275"/>
            <ac:picMk id="5" creationId="{6BF96563-76E4-4F95-B1E1-DE79733536CB}"/>
          </ac:picMkLst>
        </pc:picChg>
        <pc:picChg chg="add mod">
          <ac:chgData name="Koen Verbeeck" userId="24d0e79a7fd977da" providerId="LiveId" clId="{BA62A9EE-AA9E-47FB-8CAA-896EFD47EA90}" dt="2022-03-27T20:35:55.674" v="3276" actId="1076"/>
          <ac:picMkLst>
            <pc:docMk/>
            <pc:sldMk cId="3993369766" sldId="275"/>
            <ac:picMk id="7" creationId="{B274E9AF-A621-4076-A56E-F546E93F4057}"/>
          </ac:picMkLst>
        </pc:picChg>
        <pc:picChg chg="add mod">
          <ac:chgData name="Koen Verbeeck" userId="24d0e79a7fd977da" providerId="LiveId" clId="{BA62A9EE-AA9E-47FB-8CAA-896EFD47EA90}" dt="2022-03-27T20:35:52.953" v="3275" actId="207"/>
          <ac:picMkLst>
            <pc:docMk/>
            <pc:sldMk cId="3993369766" sldId="275"/>
            <ac:picMk id="9" creationId="{B7CE9315-8AC0-46D1-8B5B-26BC55811056}"/>
          </ac:picMkLst>
        </pc:picChg>
      </pc:sldChg>
      <pc:sldChg chg="addSp delSp modSp new mod">
        <pc:chgData name="Koen Verbeeck" userId="24d0e79a7fd977da" providerId="LiveId" clId="{BA62A9EE-AA9E-47FB-8CAA-896EFD47EA90}" dt="2022-03-25T18:56:54.875" v="1358" actId="1076"/>
        <pc:sldMkLst>
          <pc:docMk/>
          <pc:sldMk cId="4190077659" sldId="276"/>
        </pc:sldMkLst>
        <pc:spChg chg="mod">
          <ac:chgData name="Koen Verbeeck" userId="24d0e79a7fd977da" providerId="LiveId" clId="{BA62A9EE-AA9E-47FB-8CAA-896EFD47EA90}" dt="2022-03-25T18:54:56.567" v="1350" actId="20577"/>
          <ac:spMkLst>
            <pc:docMk/>
            <pc:sldMk cId="4190077659" sldId="276"/>
            <ac:spMk id="2" creationId="{4775547B-314D-4312-875B-0EF41A237C92}"/>
          </ac:spMkLst>
        </pc:spChg>
        <pc:spChg chg="del">
          <ac:chgData name="Koen Verbeeck" userId="24d0e79a7fd977da" providerId="LiveId" clId="{BA62A9EE-AA9E-47FB-8CAA-896EFD47EA90}" dt="2022-03-25T18:55:54.631" v="1351" actId="478"/>
          <ac:spMkLst>
            <pc:docMk/>
            <pc:sldMk cId="4190077659" sldId="276"/>
            <ac:spMk id="3" creationId="{A08723F9-C285-4F08-B2E7-93712736CE92}"/>
          </ac:spMkLst>
        </pc:spChg>
        <pc:picChg chg="add mod">
          <ac:chgData name="Koen Verbeeck" userId="24d0e79a7fd977da" providerId="LiveId" clId="{BA62A9EE-AA9E-47FB-8CAA-896EFD47EA90}" dt="2022-03-25T18:56:54.875" v="1358" actId="1076"/>
          <ac:picMkLst>
            <pc:docMk/>
            <pc:sldMk cId="4190077659" sldId="276"/>
            <ac:picMk id="5" creationId="{E4AA609E-0FA2-4D65-8AEA-9799FDC00353}"/>
          </ac:picMkLst>
        </pc:picChg>
        <pc:picChg chg="add mod">
          <ac:chgData name="Koen Verbeeck" userId="24d0e79a7fd977da" providerId="LiveId" clId="{BA62A9EE-AA9E-47FB-8CAA-896EFD47EA90}" dt="2022-03-25T18:56:51.932" v="1357" actId="1076"/>
          <ac:picMkLst>
            <pc:docMk/>
            <pc:sldMk cId="4190077659" sldId="276"/>
            <ac:picMk id="7" creationId="{2C82626F-3371-42FD-8031-33EFB02A67C3}"/>
          </ac:picMkLst>
        </pc:picChg>
      </pc:sldChg>
      <pc:sldChg chg="addSp delSp modSp new mod">
        <pc:chgData name="Koen Verbeeck" userId="24d0e79a7fd977da" providerId="LiveId" clId="{BA62A9EE-AA9E-47FB-8CAA-896EFD47EA90}" dt="2022-03-25T19:00:07.999" v="1380" actId="14100"/>
        <pc:sldMkLst>
          <pc:docMk/>
          <pc:sldMk cId="3748645789" sldId="277"/>
        </pc:sldMkLst>
        <pc:spChg chg="mod">
          <ac:chgData name="Koen Verbeeck" userId="24d0e79a7fd977da" providerId="LiveId" clId="{BA62A9EE-AA9E-47FB-8CAA-896EFD47EA90}" dt="2022-03-25T18:58:13.063" v="1370" actId="20577"/>
          <ac:spMkLst>
            <pc:docMk/>
            <pc:sldMk cId="3748645789" sldId="277"/>
            <ac:spMk id="2" creationId="{4CCDCA43-20D3-4CDE-A97E-3B0FDBD7B8E9}"/>
          </ac:spMkLst>
        </pc:spChg>
        <pc:spChg chg="del mod">
          <ac:chgData name="Koen Verbeeck" userId="24d0e79a7fd977da" providerId="LiveId" clId="{BA62A9EE-AA9E-47FB-8CAA-896EFD47EA90}" dt="2022-03-25T18:59:54.633" v="1378" actId="478"/>
          <ac:spMkLst>
            <pc:docMk/>
            <pc:sldMk cId="3748645789" sldId="277"/>
            <ac:spMk id="3" creationId="{48C60088-C23D-4D19-A36C-0189B47225C4}"/>
          </ac:spMkLst>
        </pc:spChg>
        <pc:picChg chg="add mod ord">
          <ac:chgData name="Koen Verbeeck" userId="24d0e79a7fd977da" providerId="LiveId" clId="{BA62A9EE-AA9E-47FB-8CAA-896EFD47EA90}" dt="2022-03-25T19:00:07.999" v="1380" actId="14100"/>
          <ac:picMkLst>
            <pc:docMk/>
            <pc:sldMk cId="3748645789" sldId="277"/>
            <ac:picMk id="5" creationId="{CCCD0A6E-69E1-41CC-BD0E-BE49E8C49D0C}"/>
          </ac:picMkLst>
        </pc:picChg>
      </pc:sldChg>
      <pc:sldChg chg="modSp add mod">
        <pc:chgData name="Koen Verbeeck" userId="24d0e79a7fd977da" providerId="LiveId" clId="{BA62A9EE-AA9E-47FB-8CAA-896EFD47EA90}" dt="2022-03-26T22:02:59.356" v="2229" actId="20577"/>
        <pc:sldMkLst>
          <pc:docMk/>
          <pc:sldMk cId="1916331363" sldId="278"/>
        </pc:sldMkLst>
        <pc:spChg chg="mod">
          <ac:chgData name="Koen Verbeeck" userId="24d0e79a7fd977da" providerId="LiveId" clId="{BA62A9EE-AA9E-47FB-8CAA-896EFD47EA90}" dt="2022-03-26T22:02:59.356" v="2229" actId="20577"/>
          <ac:spMkLst>
            <pc:docMk/>
            <pc:sldMk cId="1916331363" sldId="278"/>
            <ac:spMk id="3" creationId="{E30B25E8-65B9-4D76-ABEF-D4D1D4BC2928}"/>
          </ac:spMkLst>
        </pc:spChg>
      </pc:sldChg>
      <pc:sldChg chg="modSp add mod">
        <pc:chgData name="Koen Verbeeck" userId="24d0e79a7fd977da" providerId="LiveId" clId="{BA62A9EE-AA9E-47FB-8CAA-896EFD47EA90}" dt="2022-03-25T19:12:09.266" v="1411" actId="20577"/>
        <pc:sldMkLst>
          <pc:docMk/>
          <pc:sldMk cId="41874361" sldId="279"/>
        </pc:sldMkLst>
        <pc:spChg chg="mod">
          <ac:chgData name="Koen Verbeeck" userId="24d0e79a7fd977da" providerId="LiveId" clId="{BA62A9EE-AA9E-47FB-8CAA-896EFD47EA90}" dt="2022-03-25T19:12:09.266" v="1411" actId="20577"/>
          <ac:spMkLst>
            <pc:docMk/>
            <pc:sldMk cId="41874361" sldId="279"/>
            <ac:spMk id="3" creationId="{E30B25E8-65B9-4D76-ABEF-D4D1D4BC2928}"/>
          </ac:spMkLst>
        </pc:spChg>
      </pc:sldChg>
      <pc:sldChg chg="modSp add mod">
        <pc:chgData name="Koen Verbeeck" userId="24d0e79a7fd977da" providerId="LiveId" clId="{BA62A9EE-AA9E-47FB-8CAA-896EFD47EA90}" dt="2022-03-25T19:12:35.917" v="1424" actId="20577"/>
        <pc:sldMkLst>
          <pc:docMk/>
          <pc:sldMk cId="2482237750" sldId="280"/>
        </pc:sldMkLst>
        <pc:spChg chg="mod">
          <ac:chgData name="Koen Verbeeck" userId="24d0e79a7fd977da" providerId="LiveId" clId="{BA62A9EE-AA9E-47FB-8CAA-896EFD47EA90}" dt="2022-03-25T19:12:35.917" v="1424" actId="20577"/>
          <ac:spMkLst>
            <pc:docMk/>
            <pc:sldMk cId="2482237750" sldId="280"/>
            <ac:spMk id="3" creationId="{E30B25E8-65B9-4D76-ABEF-D4D1D4BC2928}"/>
          </ac:spMkLst>
        </pc:spChg>
      </pc:sldChg>
      <pc:sldChg chg="modSp add mod">
        <pc:chgData name="Koen Verbeeck" userId="24d0e79a7fd977da" providerId="LiveId" clId="{BA62A9EE-AA9E-47FB-8CAA-896EFD47EA90}" dt="2022-03-25T19:13:01.940" v="1435" actId="20577"/>
        <pc:sldMkLst>
          <pc:docMk/>
          <pc:sldMk cId="448040946" sldId="281"/>
        </pc:sldMkLst>
        <pc:spChg chg="mod">
          <ac:chgData name="Koen Verbeeck" userId="24d0e79a7fd977da" providerId="LiveId" clId="{BA62A9EE-AA9E-47FB-8CAA-896EFD47EA90}" dt="2022-03-25T19:13:01.940" v="1435" actId="20577"/>
          <ac:spMkLst>
            <pc:docMk/>
            <pc:sldMk cId="448040946" sldId="281"/>
            <ac:spMk id="3" creationId="{E30B25E8-65B9-4D76-ABEF-D4D1D4BC2928}"/>
          </ac:spMkLst>
        </pc:spChg>
      </pc:sldChg>
      <pc:sldChg chg="addSp delSp modSp new mod modClrScheme modAnim chgLayout">
        <pc:chgData name="Koen Verbeeck" userId="24d0e79a7fd977da" providerId="LiveId" clId="{BA62A9EE-AA9E-47FB-8CAA-896EFD47EA90}" dt="2022-03-27T20:37:23.648" v="3280"/>
        <pc:sldMkLst>
          <pc:docMk/>
          <pc:sldMk cId="2934664005" sldId="282"/>
        </pc:sldMkLst>
        <pc:spChg chg="del mod ord">
          <ac:chgData name="Koen Verbeeck" userId="24d0e79a7fd977da" providerId="LiveId" clId="{BA62A9EE-AA9E-47FB-8CAA-896EFD47EA90}" dt="2022-03-26T11:55:27.616" v="1437" actId="700"/>
          <ac:spMkLst>
            <pc:docMk/>
            <pc:sldMk cId="2934664005" sldId="282"/>
            <ac:spMk id="2" creationId="{9CE9465D-A998-44EA-AA2C-936D27BB85D3}"/>
          </ac:spMkLst>
        </pc:spChg>
        <pc:spChg chg="del">
          <ac:chgData name="Koen Verbeeck" userId="24d0e79a7fd977da" providerId="LiveId" clId="{BA62A9EE-AA9E-47FB-8CAA-896EFD47EA90}" dt="2022-03-26T11:55:27.616" v="1437" actId="700"/>
          <ac:spMkLst>
            <pc:docMk/>
            <pc:sldMk cId="2934664005" sldId="282"/>
            <ac:spMk id="3" creationId="{14F8D92F-6706-4C2B-A7E7-804DDCADA1DF}"/>
          </ac:spMkLst>
        </pc:spChg>
        <pc:spChg chg="add del mod ord">
          <ac:chgData name="Koen Verbeeck" userId="24d0e79a7fd977da" providerId="LiveId" clId="{BA62A9EE-AA9E-47FB-8CAA-896EFD47EA90}" dt="2022-03-26T12:03:12.500" v="1445" actId="478"/>
          <ac:spMkLst>
            <pc:docMk/>
            <pc:sldMk cId="2934664005" sldId="282"/>
            <ac:spMk id="4" creationId="{C3E80B87-C550-407C-A54E-C47B170351BD}"/>
          </ac:spMkLst>
        </pc:spChg>
        <pc:picChg chg="add mod">
          <ac:chgData name="Koen Verbeeck" userId="24d0e79a7fd977da" providerId="LiveId" clId="{BA62A9EE-AA9E-47FB-8CAA-896EFD47EA90}" dt="2022-03-26T12:03:16.728" v="1447" actId="14100"/>
          <ac:picMkLst>
            <pc:docMk/>
            <pc:sldMk cId="2934664005" sldId="282"/>
            <ac:picMk id="6" creationId="{9A971475-5F31-47F2-9545-281DCABB82FA}"/>
          </ac:picMkLst>
        </pc:picChg>
        <pc:picChg chg="add mod">
          <ac:chgData name="Koen Verbeeck" userId="24d0e79a7fd977da" providerId="LiveId" clId="{BA62A9EE-AA9E-47FB-8CAA-896EFD47EA90}" dt="2022-03-26T12:03:28.503" v="1453" actId="14100"/>
          <ac:picMkLst>
            <pc:docMk/>
            <pc:sldMk cId="2934664005" sldId="282"/>
            <ac:picMk id="8" creationId="{ACF9ABC8-CF94-4B03-935F-155A22F3B3C4}"/>
          </ac:picMkLst>
        </pc:picChg>
        <pc:picChg chg="add mod">
          <ac:chgData name="Koen Verbeeck" userId="24d0e79a7fd977da" providerId="LiveId" clId="{BA62A9EE-AA9E-47FB-8CAA-896EFD47EA90}" dt="2022-03-26T12:12:21.693" v="1460" actId="1076"/>
          <ac:picMkLst>
            <pc:docMk/>
            <pc:sldMk cId="2934664005" sldId="282"/>
            <ac:picMk id="12" creationId="{5866C35C-73DE-4D01-A676-B9A449B24993}"/>
          </ac:picMkLst>
        </pc:picChg>
        <pc:cxnChg chg="add mod">
          <ac:chgData name="Koen Verbeeck" userId="24d0e79a7fd977da" providerId="LiveId" clId="{BA62A9EE-AA9E-47FB-8CAA-896EFD47EA90}" dt="2022-03-26T12:11:19.052" v="1456" actId="1076"/>
          <ac:cxnSpMkLst>
            <pc:docMk/>
            <pc:sldMk cId="2934664005" sldId="282"/>
            <ac:cxnSpMk id="9" creationId="{F1CBC351-8DD1-43F7-9C9C-FB32C51F448D}"/>
          </ac:cxnSpMkLst>
        </pc:cxnChg>
        <pc:cxnChg chg="add mod">
          <ac:chgData name="Koen Verbeeck" userId="24d0e79a7fd977da" providerId="LiveId" clId="{BA62A9EE-AA9E-47FB-8CAA-896EFD47EA90}" dt="2022-03-26T12:12:33.860" v="1465" actId="14100"/>
          <ac:cxnSpMkLst>
            <pc:docMk/>
            <pc:sldMk cId="2934664005" sldId="282"/>
            <ac:cxnSpMk id="13" creationId="{B7572CC0-DCAC-4F9E-9738-95872A5DC080}"/>
          </ac:cxnSpMkLst>
        </pc:cxnChg>
      </pc:sldChg>
      <pc:sldChg chg="addSp delSp modSp new mod modAnim">
        <pc:chgData name="Koen Verbeeck" userId="24d0e79a7fd977da" providerId="LiveId" clId="{BA62A9EE-AA9E-47FB-8CAA-896EFD47EA90}" dt="2022-03-27T20:39:39.632" v="3300" actId="20577"/>
        <pc:sldMkLst>
          <pc:docMk/>
          <pc:sldMk cId="2683088810" sldId="283"/>
        </pc:sldMkLst>
        <pc:spChg chg="del">
          <ac:chgData name="Koen Verbeeck" userId="24d0e79a7fd977da" providerId="LiveId" clId="{BA62A9EE-AA9E-47FB-8CAA-896EFD47EA90}" dt="2022-03-26T12:13:55.633" v="1469" actId="478"/>
          <ac:spMkLst>
            <pc:docMk/>
            <pc:sldMk cId="2683088810" sldId="283"/>
            <ac:spMk id="2" creationId="{CF85125B-D2EA-420A-83C7-4984456AD9CB}"/>
          </ac:spMkLst>
        </pc:spChg>
        <pc:spChg chg="add mod">
          <ac:chgData name="Koen Verbeeck" userId="24d0e79a7fd977da" providerId="LiveId" clId="{BA62A9EE-AA9E-47FB-8CAA-896EFD47EA90}" dt="2022-03-26T12:52:17.595" v="1741" actId="1076"/>
          <ac:spMkLst>
            <pc:docMk/>
            <pc:sldMk cId="2683088810" sldId="283"/>
            <ac:spMk id="3" creationId="{A55A5BB4-3B5E-46F0-B01A-66A8244A290C}"/>
          </ac:spMkLst>
        </pc:spChg>
        <pc:spChg chg="add mod ord">
          <ac:chgData name="Koen Verbeeck" userId="24d0e79a7fd977da" providerId="LiveId" clId="{BA62A9EE-AA9E-47FB-8CAA-896EFD47EA90}" dt="2022-03-26T12:43:04.447" v="1682" actId="167"/>
          <ac:spMkLst>
            <pc:docMk/>
            <pc:sldMk cId="2683088810" sldId="283"/>
            <ac:spMk id="4" creationId="{7BE7615A-2A3A-443D-8ABE-455F25BD26A9}"/>
          </ac:spMkLst>
        </pc:spChg>
        <pc:spChg chg="add mod">
          <ac:chgData name="Koen Verbeeck" userId="24d0e79a7fd977da" providerId="LiveId" clId="{BA62A9EE-AA9E-47FB-8CAA-896EFD47EA90}" dt="2022-03-27T20:39:35.431" v="3298" actId="20577"/>
          <ac:spMkLst>
            <pc:docMk/>
            <pc:sldMk cId="2683088810" sldId="283"/>
            <ac:spMk id="8" creationId="{514C66CD-F402-4043-8E1C-217F419290A9}"/>
          </ac:spMkLst>
        </pc:spChg>
        <pc:spChg chg="add mod">
          <ac:chgData name="Koen Verbeeck" userId="24d0e79a7fd977da" providerId="LiveId" clId="{BA62A9EE-AA9E-47FB-8CAA-896EFD47EA90}" dt="2022-03-27T20:39:39.632" v="3300" actId="20577"/>
          <ac:spMkLst>
            <pc:docMk/>
            <pc:sldMk cId="2683088810" sldId="283"/>
            <ac:spMk id="9" creationId="{B600489D-534B-4315-B6EE-62B9D1A1914E}"/>
          </ac:spMkLst>
        </pc:spChg>
        <pc:spChg chg="add mod">
          <ac:chgData name="Koen Verbeeck" userId="24d0e79a7fd977da" providerId="LiveId" clId="{BA62A9EE-AA9E-47FB-8CAA-896EFD47EA90}" dt="2022-03-26T12:17:10.762" v="1557" actId="207"/>
          <ac:spMkLst>
            <pc:docMk/>
            <pc:sldMk cId="2683088810" sldId="283"/>
            <ac:spMk id="13" creationId="{199E80D6-3A56-46C5-B73D-02C847A06434}"/>
          </ac:spMkLst>
        </pc:spChg>
        <pc:spChg chg="add mod">
          <ac:chgData name="Koen Verbeeck" userId="24d0e79a7fd977da" providerId="LiveId" clId="{BA62A9EE-AA9E-47FB-8CAA-896EFD47EA90}" dt="2022-03-26T12:18:05.710" v="1571" actId="1076"/>
          <ac:spMkLst>
            <pc:docMk/>
            <pc:sldMk cId="2683088810" sldId="283"/>
            <ac:spMk id="16" creationId="{4DFDC6AD-CF43-4126-B9B4-EAF0562FB0FE}"/>
          </ac:spMkLst>
        </pc:spChg>
        <pc:spChg chg="add mod">
          <ac:chgData name="Koen Verbeeck" userId="24d0e79a7fd977da" providerId="LiveId" clId="{BA62A9EE-AA9E-47FB-8CAA-896EFD47EA90}" dt="2022-03-26T12:19:58.015" v="1606" actId="1037"/>
          <ac:spMkLst>
            <pc:docMk/>
            <pc:sldMk cId="2683088810" sldId="283"/>
            <ac:spMk id="20" creationId="{A78D4680-636D-458C-8D8B-A056FDB1C137}"/>
          </ac:spMkLst>
        </pc:spChg>
        <pc:spChg chg="add mod">
          <ac:chgData name="Koen Verbeeck" userId="24d0e79a7fd977da" providerId="LiveId" clId="{BA62A9EE-AA9E-47FB-8CAA-896EFD47EA90}" dt="2022-03-26T12:19:58.015" v="1606" actId="1037"/>
          <ac:spMkLst>
            <pc:docMk/>
            <pc:sldMk cId="2683088810" sldId="283"/>
            <ac:spMk id="21" creationId="{A4AA1ABC-22F6-4E41-AC2E-312F00E1978F}"/>
          </ac:spMkLst>
        </pc:spChg>
        <pc:spChg chg="add mod">
          <ac:chgData name="Koen Verbeeck" userId="24d0e79a7fd977da" providerId="LiveId" clId="{BA62A9EE-AA9E-47FB-8CAA-896EFD47EA90}" dt="2022-03-26T12:19:58.015" v="1606" actId="1037"/>
          <ac:spMkLst>
            <pc:docMk/>
            <pc:sldMk cId="2683088810" sldId="283"/>
            <ac:spMk id="22" creationId="{6B0AFEFE-DAEE-47BE-AC99-A5C254E4C45A}"/>
          </ac:spMkLst>
        </pc:spChg>
        <pc:spChg chg="add del mod">
          <ac:chgData name="Koen Verbeeck" userId="24d0e79a7fd977da" providerId="LiveId" clId="{BA62A9EE-AA9E-47FB-8CAA-896EFD47EA90}" dt="2022-03-27T20:38:15.361" v="3288" actId="478"/>
          <ac:spMkLst>
            <pc:docMk/>
            <pc:sldMk cId="2683088810" sldId="283"/>
            <ac:spMk id="25" creationId="{0E71BF6E-3C00-4036-A6EC-A8ABA6BF4100}"/>
          </ac:spMkLst>
        </pc:spChg>
        <pc:spChg chg="add del mod">
          <ac:chgData name="Koen Verbeeck" userId="24d0e79a7fd977da" providerId="LiveId" clId="{BA62A9EE-AA9E-47FB-8CAA-896EFD47EA90}" dt="2022-03-27T20:38:08.525" v="3286" actId="478"/>
          <ac:spMkLst>
            <pc:docMk/>
            <pc:sldMk cId="2683088810" sldId="283"/>
            <ac:spMk id="27" creationId="{15C9A6ED-73EE-4B93-94E2-A606D1F6E4CF}"/>
          </ac:spMkLst>
        </pc:spChg>
        <pc:spChg chg="add mod ord">
          <ac:chgData name="Koen Verbeeck" userId="24d0e79a7fd977da" providerId="LiveId" clId="{BA62A9EE-AA9E-47FB-8CAA-896EFD47EA90}" dt="2022-03-26T12:46:45.012" v="1705" actId="164"/>
          <ac:spMkLst>
            <pc:docMk/>
            <pc:sldMk cId="2683088810" sldId="283"/>
            <ac:spMk id="28" creationId="{5C61E02B-9D80-4EDC-AAEA-5DA8D54AD97D}"/>
          </ac:spMkLst>
        </pc:spChg>
        <pc:spChg chg="add mod">
          <ac:chgData name="Koen Verbeeck" userId="24d0e79a7fd977da" providerId="LiveId" clId="{BA62A9EE-AA9E-47FB-8CAA-896EFD47EA90}" dt="2022-03-26T12:46:45.012" v="1705" actId="164"/>
          <ac:spMkLst>
            <pc:docMk/>
            <pc:sldMk cId="2683088810" sldId="283"/>
            <ac:spMk id="29" creationId="{8C9EB471-35E0-42AC-81D4-F4ABCA395BBC}"/>
          </ac:spMkLst>
        </pc:spChg>
        <pc:spChg chg="add mod ord">
          <ac:chgData name="Koen Verbeeck" userId="24d0e79a7fd977da" providerId="LiveId" clId="{BA62A9EE-AA9E-47FB-8CAA-896EFD47EA90}" dt="2022-03-26T12:46:45.012" v="1705" actId="164"/>
          <ac:spMkLst>
            <pc:docMk/>
            <pc:sldMk cId="2683088810" sldId="283"/>
            <ac:spMk id="30" creationId="{AB641787-3044-435B-9230-B3F8A08842D9}"/>
          </ac:spMkLst>
        </pc:spChg>
        <pc:spChg chg="add mod">
          <ac:chgData name="Koen Verbeeck" userId="24d0e79a7fd977da" providerId="LiveId" clId="{BA62A9EE-AA9E-47FB-8CAA-896EFD47EA90}" dt="2022-03-26T12:46:45.012" v="1705" actId="164"/>
          <ac:spMkLst>
            <pc:docMk/>
            <pc:sldMk cId="2683088810" sldId="283"/>
            <ac:spMk id="31" creationId="{5EFE8B9D-BEDB-476E-B629-6C65F39DF67D}"/>
          </ac:spMkLst>
        </pc:spChg>
        <pc:spChg chg="mod">
          <ac:chgData name="Koen Verbeeck" userId="24d0e79a7fd977da" providerId="LiveId" clId="{BA62A9EE-AA9E-47FB-8CAA-896EFD47EA90}" dt="2022-03-26T12:47:04.743" v="1710"/>
          <ac:spMkLst>
            <pc:docMk/>
            <pc:sldMk cId="2683088810" sldId="283"/>
            <ac:spMk id="35" creationId="{020E51DC-8345-41A4-A4FB-C0760B7A6D91}"/>
          </ac:spMkLst>
        </pc:spChg>
        <pc:spChg chg="mod">
          <ac:chgData name="Koen Verbeeck" userId="24d0e79a7fd977da" providerId="LiveId" clId="{BA62A9EE-AA9E-47FB-8CAA-896EFD47EA90}" dt="2022-03-26T12:47:04.743" v="1710"/>
          <ac:spMkLst>
            <pc:docMk/>
            <pc:sldMk cId="2683088810" sldId="283"/>
            <ac:spMk id="36" creationId="{CEEBB20D-1422-4B8C-B0CE-241FCE85A2F6}"/>
          </ac:spMkLst>
        </pc:spChg>
        <pc:spChg chg="mod">
          <ac:chgData name="Koen Verbeeck" userId="24d0e79a7fd977da" providerId="LiveId" clId="{BA62A9EE-AA9E-47FB-8CAA-896EFD47EA90}" dt="2022-03-26T12:47:04.743" v="1710"/>
          <ac:spMkLst>
            <pc:docMk/>
            <pc:sldMk cId="2683088810" sldId="283"/>
            <ac:spMk id="37" creationId="{17FF727A-7C48-45AA-BEDC-144C2C1291C0}"/>
          </ac:spMkLst>
        </pc:spChg>
        <pc:spChg chg="mod">
          <ac:chgData name="Koen Verbeeck" userId="24d0e79a7fd977da" providerId="LiveId" clId="{BA62A9EE-AA9E-47FB-8CAA-896EFD47EA90}" dt="2022-03-26T12:47:04.743" v="1710"/>
          <ac:spMkLst>
            <pc:docMk/>
            <pc:sldMk cId="2683088810" sldId="283"/>
            <ac:spMk id="38" creationId="{D360A393-3C80-4429-9F96-3ADBB92A5B90}"/>
          </ac:spMkLst>
        </pc:spChg>
        <pc:spChg chg="add del mod">
          <ac:chgData name="Koen Verbeeck" userId="24d0e79a7fd977da" providerId="LiveId" clId="{BA62A9EE-AA9E-47FB-8CAA-896EFD47EA90}" dt="2022-03-27T20:38:17.824" v="3289" actId="478"/>
          <ac:spMkLst>
            <pc:docMk/>
            <pc:sldMk cId="2683088810" sldId="283"/>
            <ac:spMk id="45" creationId="{CB0BAB4B-3A0E-4DC8-A31D-DEFE2FC63A4A}"/>
          </ac:spMkLst>
        </pc:spChg>
        <pc:spChg chg="add del mod">
          <ac:chgData name="Koen Verbeeck" userId="24d0e79a7fd977da" providerId="LiveId" clId="{BA62A9EE-AA9E-47FB-8CAA-896EFD47EA90}" dt="2022-03-27T20:37:51.995" v="3284" actId="478"/>
          <ac:spMkLst>
            <pc:docMk/>
            <pc:sldMk cId="2683088810" sldId="283"/>
            <ac:spMk id="48" creationId="{39774655-466C-416B-89C8-E6C869FD7FE6}"/>
          </ac:spMkLst>
        </pc:spChg>
        <pc:grpChg chg="add del mod">
          <ac:chgData name="Koen Verbeeck" userId="24d0e79a7fd977da" providerId="LiveId" clId="{BA62A9EE-AA9E-47FB-8CAA-896EFD47EA90}" dt="2022-03-27T20:37:47.832" v="3282" actId="478"/>
          <ac:grpSpMkLst>
            <pc:docMk/>
            <pc:sldMk cId="2683088810" sldId="283"/>
            <ac:grpSpMk id="32" creationId="{03382A32-EB5C-4E79-B8D6-13F33E06DE2B}"/>
          </ac:grpSpMkLst>
        </pc:grpChg>
        <pc:grpChg chg="add del mod">
          <ac:chgData name="Koen Verbeeck" userId="24d0e79a7fd977da" providerId="LiveId" clId="{BA62A9EE-AA9E-47FB-8CAA-896EFD47EA90}" dt="2022-03-27T20:37:47.832" v="3282" actId="478"/>
          <ac:grpSpMkLst>
            <pc:docMk/>
            <pc:sldMk cId="2683088810" sldId="283"/>
            <ac:grpSpMk id="34" creationId="{706BE893-A332-4444-8486-32748075D8FF}"/>
          </ac:grpSpMkLst>
        </pc:grpChg>
        <pc:picChg chg="add mod">
          <ac:chgData name="Koen Verbeeck" userId="24d0e79a7fd977da" providerId="LiveId" clId="{BA62A9EE-AA9E-47FB-8CAA-896EFD47EA90}" dt="2022-03-26T12:14:40.108" v="1474" actId="1076"/>
          <ac:picMkLst>
            <pc:docMk/>
            <pc:sldMk cId="2683088810" sldId="283"/>
            <ac:picMk id="6" creationId="{A637F83A-30A2-488F-A91F-E125010E84A8}"/>
          </ac:picMkLst>
        </pc:picChg>
        <pc:picChg chg="add mod">
          <ac:chgData name="Koen Verbeeck" userId="24d0e79a7fd977da" providerId="LiveId" clId="{BA62A9EE-AA9E-47FB-8CAA-896EFD47EA90}" dt="2022-03-26T12:14:43.363" v="1476" actId="1076"/>
          <ac:picMkLst>
            <pc:docMk/>
            <pc:sldMk cId="2683088810" sldId="283"/>
            <ac:picMk id="7" creationId="{B30714CE-F241-4EE1-BA21-4732703B3C48}"/>
          </ac:picMkLst>
        </pc:picChg>
        <pc:picChg chg="add del mod">
          <ac:chgData name="Koen Verbeeck" userId="24d0e79a7fd977da" providerId="LiveId" clId="{BA62A9EE-AA9E-47FB-8CAA-896EFD47EA90}" dt="2022-03-27T20:37:47.832" v="3282" actId="478"/>
          <ac:picMkLst>
            <pc:docMk/>
            <pc:sldMk cId="2683088810" sldId="283"/>
            <ac:picMk id="39" creationId="{7077C963-030F-40B5-A995-A4BD4004CC80}"/>
          </ac:picMkLst>
        </pc:picChg>
        <pc:picChg chg="add del mod">
          <ac:chgData name="Koen Verbeeck" userId="24d0e79a7fd977da" providerId="LiveId" clId="{BA62A9EE-AA9E-47FB-8CAA-896EFD47EA90}" dt="2022-03-27T20:37:47.832" v="3282" actId="478"/>
          <ac:picMkLst>
            <pc:docMk/>
            <pc:sldMk cId="2683088810" sldId="283"/>
            <ac:picMk id="41" creationId="{A92714C7-9BC0-4C72-9E9D-E0626084A2B3}"/>
          </ac:picMkLst>
        </pc:picChg>
        <pc:picChg chg="add del mod">
          <ac:chgData name="Koen Verbeeck" userId="24d0e79a7fd977da" providerId="LiveId" clId="{BA62A9EE-AA9E-47FB-8CAA-896EFD47EA90}" dt="2022-03-27T20:37:47.832" v="3282" actId="478"/>
          <ac:picMkLst>
            <pc:docMk/>
            <pc:sldMk cId="2683088810" sldId="283"/>
            <ac:picMk id="42" creationId="{19B8AAA9-F92A-4288-B439-CCAFCA4DA257}"/>
          </ac:picMkLst>
        </pc:picChg>
        <pc:picChg chg="add del mod">
          <ac:chgData name="Koen Verbeeck" userId="24d0e79a7fd977da" providerId="LiveId" clId="{BA62A9EE-AA9E-47FB-8CAA-896EFD47EA90}" dt="2022-03-27T20:37:47.832" v="3282" actId="478"/>
          <ac:picMkLst>
            <pc:docMk/>
            <pc:sldMk cId="2683088810" sldId="283"/>
            <ac:picMk id="44" creationId="{224D5459-5409-4FBD-88DF-3488E60325B7}"/>
          </ac:picMkLst>
        </pc:picChg>
        <pc:picChg chg="add del mod">
          <ac:chgData name="Koen Verbeeck" userId="24d0e79a7fd977da" providerId="LiveId" clId="{BA62A9EE-AA9E-47FB-8CAA-896EFD47EA90}" dt="2022-03-27T20:37:50.213" v="3283" actId="478"/>
          <ac:picMkLst>
            <pc:docMk/>
            <pc:sldMk cId="2683088810" sldId="283"/>
            <ac:picMk id="47" creationId="{2267092B-A1FA-4126-8A8C-380A75480807}"/>
          </ac:picMkLst>
        </pc:picChg>
        <pc:picChg chg="add del mod">
          <ac:chgData name="Koen Verbeeck" userId="24d0e79a7fd977da" providerId="LiveId" clId="{BA62A9EE-AA9E-47FB-8CAA-896EFD47EA90}" dt="2022-03-26T12:36:10.887" v="1652" actId="478"/>
          <ac:picMkLst>
            <pc:docMk/>
            <pc:sldMk cId="2683088810" sldId="283"/>
            <ac:picMk id="13314" creationId="{D3DD6BAE-170A-4968-934B-41B94D756D2C}"/>
          </ac:picMkLst>
        </pc:picChg>
        <pc:picChg chg="add del mod">
          <ac:chgData name="Koen Verbeeck" userId="24d0e79a7fd977da" providerId="LiveId" clId="{BA62A9EE-AA9E-47FB-8CAA-896EFD47EA90}" dt="2022-03-27T20:37:55.463" v="3285" actId="478"/>
          <ac:picMkLst>
            <pc:docMk/>
            <pc:sldMk cId="2683088810" sldId="283"/>
            <ac:picMk id="13316" creationId="{CE3CC49B-B805-495F-BD56-29B4042D2B4E}"/>
          </ac:picMkLst>
        </pc:picChg>
        <pc:cxnChg chg="add mod ord">
          <ac:chgData name="Koen Verbeeck" userId="24d0e79a7fd977da" providerId="LiveId" clId="{BA62A9EE-AA9E-47FB-8CAA-896EFD47EA90}" dt="2022-03-26T12:16:52.920" v="1550" actId="1076"/>
          <ac:cxnSpMkLst>
            <pc:docMk/>
            <pc:sldMk cId="2683088810" sldId="283"/>
            <ac:cxnSpMk id="11" creationId="{C8630205-63CD-469A-B50F-33FA6B223D94}"/>
          </ac:cxnSpMkLst>
        </pc:cxnChg>
        <pc:cxnChg chg="add mod">
          <ac:chgData name="Koen Verbeeck" userId="24d0e79a7fd977da" providerId="LiveId" clId="{BA62A9EE-AA9E-47FB-8CAA-896EFD47EA90}" dt="2022-03-26T12:18:58.910" v="1587" actId="14100"/>
          <ac:cxnSpMkLst>
            <pc:docMk/>
            <pc:sldMk cId="2683088810" sldId="283"/>
            <ac:cxnSpMk id="14" creationId="{3499CCA7-A0B4-4B92-BBE0-C0B4A02D237E}"/>
          </ac:cxnSpMkLst>
        </pc:cxnChg>
        <pc:cxnChg chg="add mod">
          <ac:chgData name="Koen Verbeeck" userId="24d0e79a7fd977da" providerId="LiveId" clId="{BA62A9EE-AA9E-47FB-8CAA-896EFD47EA90}" dt="2022-03-26T12:18:53.178" v="1586" actId="692"/>
          <ac:cxnSpMkLst>
            <pc:docMk/>
            <pc:sldMk cId="2683088810" sldId="283"/>
            <ac:cxnSpMk id="18" creationId="{B2873249-E7EF-4434-9900-4EC28A4768AF}"/>
          </ac:cxnSpMkLst>
        </pc:cxnChg>
        <pc:cxnChg chg="add del mod">
          <ac:chgData name="Koen Verbeeck" userId="24d0e79a7fd977da" providerId="LiveId" clId="{BA62A9EE-AA9E-47FB-8CAA-896EFD47EA90}" dt="2022-03-27T20:38:28.726" v="3290" actId="478"/>
          <ac:cxnSpMkLst>
            <pc:docMk/>
            <pc:sldMk cId="2683088810" sldId="283"/>
            <ac:cxnSpMk id="23" creationId="{C14EDB73-8A28-4159-AFF9-BBBEDF0F98F2}"/>
          </ac:cxnSpMkLst>
        </pc:cxnChg>
        <pc:cxnChg chg="add del mod">
          <ac:chgData name="Koen Verbeeck" userId="24d0e79a7fd977da" providerId="LiveId" clId="{BA62A9EE-AA9E-47FB-8CAA-896EFD47EA90}" dt="2022-03-27T20:38:10.959" v="3287" actId="478"/>
          <ac:cxnSpMkLst>
            <pc:docMk/>
            <pc:sldMk cId="2683088810" sldId="283"/>
            <ac:cxnSpMk id="26" creationId="{42AE32BA-24B4-46D2-B5F9-5DCBB4BD9BBE}"/>
          </ac:cxnSpMkLst>
        </pc:cxnChg>
      </pc:sldChg>
      <pc:sldChg chg="addSp delSp modSp new mod modClrScheme modAnim chgLayout">
        <pc:chgData name="Koen Verbeeck" userId="24d0e79a7fd977da" providerId="LiveId" clId="{BA62A9EE-AA9E-47FB-8CAA-896EFD47EA90}" dt="2022-03-27T20:57:55.109" v="3446"/>
        <pc:sldMkLst>
          <pc:docMk/>
          <pc:sldMk cId="281771224" sldId="284"/>
        </pc:sldMkLst>
        <pc:spChg chg="del mod ord">
          <ac:chgData name="Koen Verbeeck" userId="24d0e79a7fd977da" providerId="LiveId" clId="{BA62A9EE-AA9E-47FB-8CAA-896EFD47EA90}" dt="2022-03-26T21:30:51.865" v="1764" actId="700"/>
          <ac:spMkLst>
            <pc:docMk/>
            <pc:sldMk cId="281771224" sldId="284"/>
            <ac:spMk id="2" creationId="{15CC37B7-8A07-4C4F-A8BF-A139A329C2BE}"/>
          </ac:spMkLst>
        </pc:spChg>
        <pc:spChg chg="del">
          <ac:chgData name="Koen Verbeeck" userId="24d0e79a7fd977da" providerId="LiveId" clId="{BA62A9EE-AA9E-47FB-8CAA-896EFD47EA90}" dt="2022-03-26T21:30:51.865" v="1764" actId="700"/>
          <ac:spMkLst>
            <pc:docMk/>
            <pc:sldMk cId="281771224" sldId="284"/>
            <ac:spMk id="3" creationId="{D1725E9F-D65C-4DE7-832C-FC0875799952}"/>
          </ac:spMkLst>
        </pc:spChg>
        <pc:spChg chg="add mod ord">
          <ac:chgData name="Koen Verbeeck" userId="24d0e79a7fd977da" providerId="LiveId" clId="{BA62A9EE-AA9E-47FB-8CAA-896EFD47EA90}" dt="2022-03-26T21:30:59.788" v="1791" actId="20577"/>
          <ac:spMkLst>
            <pc:docMk/>
            <pc:sldMk cId="281771224" sldId="284"/>
            <ac:spMk id="4" creationId="{5920F31D-0130-46CE-BD74-AF2DA2AFAE23}"/>
          </ac:spMkLst>
        </pc:spChg>
        <pc:picChg chg="add mod">
          <ac:chgData name="Koen Verbeeck" userId="24d0e79a7fd977da" providerId="LiveId" clId="{BA62A9EE-AA9E-47FB-8CAA-896EFD47EA90}" dt="2022-03-26T21:32:13.014" v="1793" actId="1076"/>
          <ac:picMkLst>
            <pc:docMk/>
            <pc:sldMk cId="281771224" sldId="284"/>
            <ac:picMk id="6" creationId="{79BA2B00-4226-44A4-BE6E-D4813C40CB6C}"/>
          </ac:picMkLst>
        </pc:picChg>
        <pc:picChg chg="add mod modCrop">
          <ac:chgData name="Koen Verbeeck" userId="24d0e79a7fd977da" providerId="LiveId" clId="{BA62A9EE-AA9E-47FB-8CAA-896EFD47EA90}" dt="2022-03-26T21:33:05.486" v="1797" actId="1076"/>
          <ac:picMkLst>
            <pc:docMk/>
            <pc:sldMk cId="281771224" sldId="284"/>
            <ac:picMk id="8" creationId="{69A2EBAD-69FA-41DF-A9A8-EC53EF3710C3}"/>
          </ac:picMkLst>
        </pc:picChg>
        <pc:cxnChg chg="add mod">
          <ac:chgData name="Koen Verbeeck" userId="24d0e79a7fd977da" providerId="LiveId" clId="{BA62A9EE-AA9E-47FB-8CAA-896EFD47EA90}" dt="2022-03-27T20:57:19.281" v="3437" actId="14100"/>
          <ac:cxnSpMkLst>
            <pc:docMk/>
            <pc:sldMk cId="281771224" sldId="284"/>
            <ac:cxnSpMk id="9" creationId="{0A3DE0DF-DB67-48A8-8220-587ABF5E2286}"/>
          </ac:cxnSpMkLst>
        </pc:cxnChg>
        <pc:cxnChg chg="add mod">
          <ac:chgData name="Koen Verbeeck" userId="24d0e79a7fd977da" providerId="LiveId" clId="{BA62A9EE-AA9E-47FB-8CAA-896EFD47EA90}" dt="2022-03-27T20:57:22.531" v="3438" actId="14100"/>
          <ac:cxnSpMkLst>
            <pc:docMk/>
            <pc:sldMk cId="281771224" sldId="284"/>
            <ac:cxnSpMk id="12" creationId="{C71EA53D-37A2-4EBC-ACF6-98C3F4E53963}"/>
          </ac:cxnSpMkLst>
        </pc:cxnChg>
      </pc:sldChg>
      <pc:sldChg chg="addSp modSp new mod modAnim">
        <pc:chgData name="Koen Verbeeck" userId="24d0e79a7fd977da" providerId="LiveId" clId="{BA62A9EE-AA9E-47FB-8CAA-896EFD47EA90}" dt="2022-03-27T20:57:48.896" v="3445"/>
        <pc:sldMkLst>
          <pc:docMk/>
          <pc:sldMk cId="1552493767" sldId="285"/>
        </pc:sldMkLst>
        <pc:spChg chg="mod">
          <ac:chgData name="Koen Verbeeck" userId="24d0e79a7fd977da" providerId="LiveId" clId="{BA62A9EE-AA9E-47FB-8CAA-896EFD47EA90}" dt="2022-03-26T21:33:58.884" v="1825" actId="20577"/>
          <ac:spMkLst>
            <pc:docMk/>
            <pc:sldMk cId="1552493767" sldId="285"/>
            <ac:spMk id="2" creationId="{F57B019D-7122-4376-8DA1-EB6B44302153}"/>
          </ac:spMkLst>
        </pc:spChg>
        <pc:picChg chg="add mod">
          <ac:chgData name="Koen Verbeeck" userId="24d0e79a7fd977da" providerId="LiveId" clId="{BA62A9EE-AA9E-47FB-8CAA-896EFD47EA90}" dt="2022-03-26T21:34:25.169" v="1828" actId="1076"/>
          <ac:picMkLst>
            <pc:docMk/>
            <pc:sldMk cId="1552493767" sldId="285"/>
            <ac:picMk id="4" creationId="{3CDB4D39-914F-4FB6-951D-F673BF8ADF86}"/>
          </ac:picMkLst>
        </pc:picChg>
        <pc:picChg chg="add mod">
          <ac:chgData name="Koen Verbeeck" userId="24d0e79a7fd977da" providerId="LiveId" clId="{BA62A9EE-AA9E-47FB-8CAA-896EFD47EA90}" dt="2022-03-26T21:34:28.395" v="1830" actId="1076"/>
          <ac:picMkLst>
            <pc:docMk/>
            <pc:sldMk cId="1552493767" sldId="285"/>
            <ac:picMk id="6" creationId="{F05F1F79-48B3-498F-AB79-94FD0E6A629A}"/>
          </ac:picMkLst>
        </pc:picChg>
        <pc:cxnChg chg="add mod">
          <ac:chgData name="Koen Verbeeck" userId="24d0e79a7fd977da" providerId="LiveId" clId="{BA62A9EE-AA9E-47FB-8CAA-896EFD47EA90}" dt="2022-03-27T20:57:44.332" v="3444" actId="14100"/>
          <ac:cxnSpMkLst>
            <pc:docMk/>
            <pc:sldMk cId="1552493767" sldId="285"/>
            <ac:cxnSpMk id="7" creationId="{7706D64C-C664-4B80-A969-6EF0920F15C7}"/>
          </ac:cxnSpMkLst>
        </pc:cxnChg>
        <pc:cxnChg chg="add mod">
          <ac:chgData name="Koen Verbeeck" userId="24d0e79a7fd977da" providerId="LiveId" clId="{BA62A9EE-AA9E-47FB-8CAA-896EFD47EA90}" dt="2022-03-27T20:57:41.097" v="3443" actId="14100"/>
          <ac:cxnSpMkLst>
            <pc:docMk/>
            <pc:sldMk cId="1552493767" sldId="285"/>
            <ac:cxnSpMk id="9" creationId="{05119B61-2193-4FC9-8454-69154CBA0224}"/>
          </ac:cxnSpMkLst>
        </pc:cxnChg>
      </pc:sldChg>
      <pc:sldChg chg="addSp delSp modSp new mod modAnim">
        <pc:chgData name="Koen Verbeeck" userId="24d0e79a7fd977da" providerId="LiveId" clId="{BA62A9EE-AA9E-47FB-8CAA-896EFD47EA90}" dt="2022-03-27T20:58:37.890" v="3449" actId="14100"/>
        <pc:sldMkLst>
          <pc:docMk/>
          <pc:sldMk cId="3884648072" sldId="286"/>
        </pc:sldMkLst>
        <pc:spChg chg="mod">
          <ac:chgData name="Koen Verbeeck" userId="24d0e79a7fd977da" providerId="LiveId" clId="{BA62A9EE-AA9E-47FB-8CAA-896EFD47EA90}" dt="2022-03-26T21:35:58.620" v="1862" actId="20577"/>
          <ac:spMkLst>
            <pc:docMk/>
            <pc:sldMk cId="3884648072" sldId="286"/>
            <ac:spMk id="2" creationId="{28743984-E13E-4375-80E3-654D786E6E6B}"/>
          </ac:spMkLst>
        </pc:spChg>
        <pc:spChg chg="add mod">
          <ac:chgData name="Koen Verbeeck" userId="24d0e79a7fd977da" providerId="LiveId" clId="{BA62A9EE-AA9E-47FB-8CAA-896EFD47EA90}" dt="2022-03-27T20:58:37.890" v="3449" actId="14100"/>
          <ac:spMkLst>
            <pc:docMk/>
            <pc:sldMk cId="3884648072" sldId="286"/>
            <ac:spMk id="12" creationId="{778A532E-3599-42FF-9D21-0B823600FC1F}"/>
          </ac:spMkLst>
        </pc:spChg>
        <pc:picChg chg="add mod">
          <ac:chgData name="Koen Verbeeck" userId="24d0e79a7fd977da" providerId="LiveId" clId="{BA62A9EE-AA9E-47FB-8CAA-896EFD47EA90}" dt="2022-03-26T21:36:49.577" v="1867" actId="1076"/>
          <ac:picMkLst>
            <pc:docMk/>
            <pc:sldMk cId="3884648072" sldId="286"/>
            <ac:picMk id="4" creationId="{821442AF-7937-4554-B923-4A34F781AF03}"/>
          </ac:picMkLst>
        </pc:picChg>
        <pc:picChg chg="add mod">
          <ac:chgData name="Koen Verbeeck" userId="24d0e79a7fd977da" providerId="LiveId" clId="{BA62A9EE-AA9E-47FB-8CAA-896EFD47EA90}" dt="2022-03-26T21:36:46.207" v="1866" actId="1076"/>
          <ac:picMkLst>
            <pc:docMk/>
            <pc:sldMk cId="3884648072" sldId="286"/>
            <ac:picMk id="6" creationId="{DF26214D-0ED8-4E3D-B0C3-F66A13786657}"/>
          </ac:picMkLst>
        </pc:picChg>
        <pc:picChg chg="add del mod">
          <ac:chgData name="Koen Verbeeck" userId="24d0e79a7fd977da" providerId="LiveId" clId="{BA62A9EE-AA9E-47FB-8CAA-896EFD47EA90}" dt="2022-03-26T21:37:28.615" v="1873" actId="478"/>
          <ac:picMkLst>
            <pc:docMk/>
            <pc:sldMk cId="3884648072" sldId="286"/>
            <ac:picMk id="8" creationId="{A175F9DC-095A-4396-91C0-20BB2E91906F}"/>
          </ac:picMkLst>
        </pc:picChg>
        <pc:cxnChg chg="add mod">
          <ac:chgData name="Koen Verbeeck" userId="24d0e79a7fd977da" providerId="LiveId" clId="{BA62A9EE-AA9E-47FB-8CAA-896EFD47EA90}" dt="2022-03-26T21:37:40.971" v="1877" actId="14100"/>
          <ac:cxnSpMkLst>
            <pc:docMk/>
            <pc:sldMk cId="3884648072" sldId="286"/>
            <ac:cxnSpMk id="9" creationId="{D6FD5C82-2289-472F-907B-E77E2C6C7C3E}"/>
          </ac:cxnSpMkLst>
        </pc:cxnChg>
      </pc:sldChg>
      <pc:sldChg chg="add del">
        <pc:chgData name="Koen Verbeeck" userId="24d0e79a7fd977da" providerId="LiveId" clId="{BA62A9EE-AA9E-47FB-8CAA-896EFD47EA90}" dt="2022-03-26T21:37:17.486" v="1869"/>
        <pc:sldMkLst>
          <pc:docMk/>
          <pc:sldMk cId="1690146299" sldId="287"/>
        </pc:sldMkLst>
      </pc:sldChg>
      <pc:sldChg chg="addSp modSp new mod modAnim">
        <pc:chgData name="Koen Verbeeck" userId="24d0e79a7fd977da" providerId="LiveId" clId="{BA62A9EE-AA9E-47FB-8CAA-896EFD47EA90}" dt="2022-03-26T21:41:13.051" v="2000" actId="20577"/>
        <pc:sldMkLst>
          <pc:docMk/>
          <pc:sldMk cId="2123045658" sldId="287"/>
        </pc:sldMkLst>
        <pc:spChg chg="mod">
          <ac:chgData name="Koen Verbeeck" userId="24d0e79a7fd977da" providerId="LiveId" clId="{BA62A9EE-AA9E-47FB-8CAA-896EFD47EA90}" dt="2022-03-26T21:37:58.067" v="1907" actId="20577"/>
          <ac:spMkLst>
            <pc:docMk/>
            <pc:sldMk cId="2123045658" sldId="287"/>
            <ac:spMk id="2" creationId="{58991D3D-B4D2-47EE-9C2D-B55367F9B079}"/>
          </ac:spMkLst>
        </pc:spChg>
        <pc:spChg chg="add mod">
          <ac:chgData name="Koen Verbeeck" userId="24d0e79a7fd977da" providerId="LiveId" clId="{BA62A9EE-AA9E-47FB-8CAA-896EFD47EA90}" dt="2022-03-26T21:40:24.799" v="1945" actId="1076"/>
          <ac:spMkLst>
            <pc:docMk/>
            <pc:sldMk cId="2123045658" sldId="287"/>
            <ac:spMk id="10" creationId="{897A74DA-4F10-4C36-8A95-DED29E7C06E3}"/>
          </ac:spMkLst>
        </pc:spChg>
        <pc:spChg chg="add mod">
          <ac:chgData name="Koen Verbeeck" userId="24d0e79a7fd977da" providerId="LiveId" clId="{BA62A9EE-AA9E-47FB-8CAA-896EFD47EA90}" dt="2022-03-26T21:41:13.051" v="2000" actId="20577"/>
          <ac:spMkLst>
            <pc:docMk/>
            <pc:sldMk cId="2123045658" sldId="287"/>
            <ac:spMk id="12" creationId="{80971B56-C51B-4B9E-B9CB-2AA441125B86}"/>
          </ac:spMkLst>
        </pc:spChg>
        <pc:picChg chg="add mod">
          <ac:chgData name="Koen Verbeeck" userId="24d0e79a7fd977da" providerId="LiveId" clId="{BA62A9EE-AA9E-47FB-8CAA-896EFD47EA90}" dt="2022-03-26T21:38:54.494" v="1912" actId="1076"/>
          <ac:picMkLst>
            <pc:docMk/>
            <pc:sldMk cId="2123045658" sldId="287"/>
            <ac:picMk id="4" creationId="{E8ECADBA-4BF2-4F20-9A86-C998FD04E082}"/>
          </ac:picMkLst>
        </pc:picChg>
        <pc:picChg chg="add mod">
          <ac:chgData name="Koen Verbeeck" userId="24d0e79a7fd977da" providerId="LiveId" clId="{BA62A9EE-AA9E-47FB-8CAA-896EFD47EA90}" dt="2022-03-26T21:38:53.430" v="1911" actId="1076"/>
          <ac:picMkLst>
            <pc:docMk/>
            <pc:sldMk cId="2123045658" sldId="287"/>
            <ac:picMk id="6" creationId="{7819E5FB-CF9C-41AE-BA6B-1B0E0CEEE9A5}"/>
          </ac:picMkLst>
        </pc:picChg>
        <pc:cxnChg chg="add mod">
          <ac:chgData name="Koen Verbeeck" userId="24d0e79a7fd977da" providerId="LiveId" clId="{BA62A9EE-AA9E-47FB-8CAA-896EFD47EA90}" dt="2022-03-26T21:39:14.884" v="1916" actId="14100"/>
          <ac:cxnSpMkLst>
            <pc:docMk/>
            <pc:sldMk cId="2123045658" sldId="287"/>
            <ac:cxnSpMk id="7" creationId="{B2E39FB2-EDD9-4181-B7DC-1EF439F469E8}"/>
          </ac:cxnSpMkLst>
        </pc:cxnChg>
        <pc:cxnChg chg="add mod">
          <ac:chgData name="Koen Verbeeck" userId="24d0e79a7fd977da" providerId="LiveId" clId="{BA62A9EE-AA9E-47FB-8CAA-896EFD47EA90}" dt="2022-03-26T21:40:43.563" v="1951" actId="14100"/>
          <ac:cxnSpMkLst>
            <pc:docMk/>
            <pc:sldMk cId="2123045658" sldId="287"/>
            <ac:cxnSpMk id="11" creationId="{5A0860C2-E349-4A66-AA18-3F90993F4C60}"/>
          </ac:cxnSpMkLst>
        </pc:cxnChg>
      </pc:sldChg>
      <pc:sldChg chg="modSp add mod">
        <pc:chgData name="Koen Verbeeck" userId="24d0e79a7fd977da" providerId="LiveId" clId="{BA62A9EE-AA9E-47FB-8CAA-896EFD47EA90}" dt="2022-03-27T20:59:43.778" v="3456" actId="3064"/>
        <pc:sldMkLst>
          <pc:docMk/>
          <pc:sldMk cId="2627713269" sldId="288"/>
        </pc:sldMkLst>
        <pc:spChg chg="mod">
          <ac:chgData name="Koen Verbeeck" userId="24d0e79a7fd977da" providerId="LiveId" clId="{BA62A9EE-AA9E-47FB-8CAA-896EFD47EA90}" dt="2022-03-27T20:59:43.778" v="3456" actId="3064"/>
          <ac:spMkLst>
            <pc:docMk/>
            <pc:sldMk cId="2627713269" sldId="288"/>
            <ac:spMk id="4" creationId="{2A00F838-93BD-46A0-9675-42AED121CE64}"/>
          </ac:spMkLst>
        </pc:spChg>
        <pc:spChg chg="mod">
          <ac:chgData name="Koen Verbeeck" userId="24d0e79a7fd977da" providerId="LiveId" clId="{BA62A9EE-AA9E-47FB-8CAA-896EFD47EA90}" dt="2022-03-27T20:59:22.620" v="3453" actId="1037"/>
          <ac:spMkLst>
            <pc:docMk/>
            <pc:sldMk cId="2627713269" sldId="288"/>
            <ac:spMk id="5" creationId="{6E0D2489-6A42-4C2F-AC08-FE9B6654986E}"/>
          </ac:spMkLst>
        </pc:spChg>
      </pc:sldChg>
      <pc:sldChg chg="addSp delSp modSp new mod modClrScheme chgLayout">
        <pc:chgData name="Koen Verbeeck" userId="24d0e79a7fd977da" providerId="LiveId" clId="{BA62A9EE-AA9E-47FB-8CAA-896EFD47EA90}" dt="2022-03-26T21:46:39.365" v="2057" actId="14100"/>
        <pc:sldMkLst>
          <pc:docMk/>
          <pc:sldMk cId="2778082487" sldId="289"/>
        </pc:sldMkLst>
        <pc:spChg chg="del">
          <ac:chgData name="Koen Verbeeck" userId="24d0e79a7fd977da" providerId="LiveId" clId="{BA62A9EE-AA9E-47FB-8CAA-896EFD47EA90}" dt="2022-03-26T21:45:44.690" v="2042" actId="700"/>
          <ac:spMkLst>
            <pc:docMk/>
            <pc:sldMk cId="2778082487" sldId="289"/>
            <ac:spMk id="2" creationId="{A64DE9D6-6D3E-4EC2-AE24-44AA945CE865}"/>
          </ac:spMkLst>
        </pc:spChg>
        <pc:spChg chg="del">
          <ac:chgData name="Koen Verbeeck" userId="24d0e79a7fd977da" providerId="LiveId" clId="{BA62A9EE-AA9E-47FB-8CAA-896EFD47EA90}" dt="2022-03-26T21:45:44.690" v="2042" actId="700"/>
          <ac:spMkLst>
            <pc:docMk/>
            <pc:sldMk cId="2778082487" sldId="289"/>
            <ac:spMk id="3" creationId="{30B2F54B-B801-4678-B4E5-DFE5D1174319}"/>
          </ac:spMkLst>
        </pc:spChg>
        <pc:spChg chg="add mod">
          <ac:chgData name="Koen Verbeeck" userId="24d0e79a7fd977da" providerId="LiveId" clId="{BA62A9EE-AA9E-47FB-8CAA-896EFD47EA90}" dt="2022-03-26T21:46:39.365" v="2057" actId="14100"/>
          <ac:spMkLst>
            <pc:docMk/>
            <pc:sldMk cId="2778082487" sldId="289"/>
            <ac:spMk id="6" creationId="{EB4029CD-E9D8-4EEC-90D5-DFC086C64A75}"/>
          </ac:spMkLst>
        </pc:spChg>
        <pc:picChg chg="add mod">
          <ac:chgData name="Koen Verbeeck" userId="24d0e79a7fd977da" providerId="LiveId" clId="{BA62A9EE-AA9E-47FB-8CAA-896EFD47EA90}" dt="2022-03-26T21:45:48.407" v="2044" actId="1076"/>
          <ac:picMkLst>
            <pc:docMk/>
            <pc:sldMk cId="2778082487" sldId="289"/>
            <ac:picMk id="5" creationId="{CF1EC3D8-C3D7-4A00-AB45-B5DCC9FCC61B}"/>
          </ac:picMkLst>
        </pc:picChg>
      </pc:sldChg>
      <pc:sldChg chg="addSp modSp new mod modClrScheme chgLayout">
        <pc:chgData name="Koen Verbeeck" userId="24d0e79a7fd977da" providerId="LiveId" clId="{BA62A9EE-AA9E-47FB-8CAA-896EFD47EA90}" dt="2022-03-27T09:05:12.230" v="2317" actId="113"/>
        <pc:sldMkLst>
          <pc:docMk/>
          <pc:sldMk cId="1323138751" sldId="290"/>
        </pc:sldMkLst>
        <pc:spChg chg="add mod">
          <ac:chgData name="Koen Verbeeck" userId="24d0e79a7fd977da" providerId="LiveId" clId="{BA62A9EE-AA9E-47FB-8CAA-896EFD47EA90}" dt="2022-03-26T21:51:48.388" v="2088" actId="20577"/>
          <ac:spMkLst>
            <pc:docMk/>
            <pc:sldMk cId="1323138751" sldId="290"/>
            <ac:spMk id="2" creationId="{742DF371-E959-44C9-8677-0FFB64FC29BA}"/>
          </ac:spMkLst>
        </pc:spChg>
        <pc:spChg chg="add mod">
          <ac:chgData name="Koen Verbeeck" userId="24d0e79a7fd977da" providerId="LiveId" clId="{BA62A9EE-AA9E-47FB-8CAA-896EFD47EA90}" dt="2022-03-27T09:05:12.230" v="2317" actId="113"/>
          <ac:spMkLst>
            <pc:docMk/>
            <pc:sldMk cId="1323138751" sldId="290"/>
            <ac:spMk id="3" creationId="{E68FC4B6-A776-44C2-AB41-6E5851324022}"/>
          </ac:spMkLst>
        </pc:spChg>
      </pc:sldChg>
      <pc:sldChg chg="addSp delSp modSp new mod modAnim">
        <pc:chgData name="Koen Verbeeck" userId="24d0e79a7fd977da" providerId="LiveId" clId="{BA62A9EE-AA9E-47FB-8CAA-896EFD47EA90}" dt="2022-03-27T21:01:02.694" v="3459"/>
        <pc:sldMkLst>
          <pc:docMk/>
          <pc:sldMk cId="1123137217" sldId="291"/>
        </pc:sldMkLst>
        <pc:spChg chg="mod">
          <ac:chgData name="Koen Verbeeck" userId="24d0e79a7fd977da" providerId="LiveId" clId="{BA62A9EE-AA9E-47FB-8CAA-896EFD47EA90}" dt="2022-03-27T09:05:29.373" v="2325" actId="20577"/>
          <ac:spMkLst>
            <pc:docMk/>
            <pc:sldMk cId="1123137217" sldId="291"/>
            <ac:spMk id="2" creationId="{C74323B4-E04A-4AE0-B1A9-F5C67F7B1521}"/>
          </ac:spMkLst>
        </pc:spChg>
        <pc:spChg chg="add mod">
          <ac:chgData name="Koen Verbeeck" userId="24d0e79a7fd977da" providerId="LiveId" clId="{BA62A9EE-AA9E-47FB-8CAA-896EFD47EA90}" dt="2022-03-27T09:15:09.810" v="2407" actId="1076"/>
          <ac:spMkLst>
            <pc:docMk/>
            <pc:sldMk cId="1123137217" sldId="291"/>
            <ac:spMk id="9" creationId="{5BE3D2C2-5E70-4946-B00A-95535DFFE32E}"/>
          </ac:spMkLst>
        </pc:spChg>
        <pc:spChg chg="add mod">
          <ac:chgData name="Koen Verbeeck" userId="24d0e79a7fd977da" providerId="LiveId" clId="{BA62A9EE-AA9E-47FB-8CAA-896EFD47EA90}" dt="2022-03-27T09:15:07.081" v="2406" actId="1035"/>
          <ac:spMkLst>
            <pc:docMk/>
            <pc:sldMk cId="1123137217" sldId="291"/>
            <ac:spMk id="12" creationId="{69355566-1936-40EB-BA53-9FDE8ACCBFEF}"/>
          </ac:spMkLst>
        </pc:spChg>
        <pc:picChg chg="add del mod">
          <ac:chgData name="Koen Verbeeck" userId="24d0e79a7fd977da" providerId="LiveId" clId="{BA62A9EE-AA9E-47FB-8CAA-896EFD47EA90}" dt="2022-03-27T09:13:21.858" v="2333" actId="478"/>
          <ac:picMkLst>
            <pc:docMk/>
            <pc:sldMk cId="1123137217" sldId="291"/>
            <ac:picMk id="4" creationId="{FE3AD832-3A9B-4264-9D55-C3B4E0831965}"/>
          </ac:picMkLst>
        </pc:picChg>
        <pc:picChg chg="add mod">
          <ac:chgData name="Koen Verbeeck" userId="24d0e79a7fd977da" providerId="LiveId" clId="{BA62A9EE-AA9E-47FB-8CAA-896EFD47EA90}" dt="2022-03-27T09:13:17.404" v="2331"/>
          <ac:picMkLst>
            <pc:docMk/>
            <pc:sldMk cId="1123137217" sldId="291"/>
            <ac:picMk id="5" creationId="{2189D0D3-DB1D-4BF2-96F1-C22AF1CE896A}"/>
          </ac:picMkLst>
        </pc:picChg>
        <pc:picChg chg="add mod">
          <ac:chgData name="Koen Verbeeck" userId="24d0e79a7fd977da" providerId="LiveId" clId="{BA62A9EE-AA9E-47FB-8CAA-896EFD47EA90}" dt="2022-03-27T09:15:07.081" v="2406" actId="1035"/>
          <ac:picMkLst>
            <pc:docMk/>
            <pc:sldMk cId="1123137217" sldId="291"/>
            <ac:picMk id="7" creationId="{56614611-C783-4DC0-968A-A23B8C5C40AB}"/>
          </ac:picMkLst>
        </pc:picChg>
        <pc:cxnChg chg="add mod">
          <ac:chgData name="Koen Verbeeck" userId="24d0e79a7fd977da" providerId="LiveId" clId="{BA62A9EE-AA9E-47FB-8CAA-896EFD47EA90}" dt="2022-03-27T09:15:07.081" v="2406" actId="1035"/>
          <ac:cxnSpMkLst>
            <pc:docMk/>
            <pc:sldMk cId="1123137217" sldId="291"/>
            <ac:cxnSpMk id="8" creationId="{A50FE6DE-FA73-4678-8B05-685D1B273AF3}"/>
          </ac:cxnSpMkLst>
        </pc:cxnChg>
      </pc:sldChg>
      <pc:sldChg chg="addSp modSp add mod modAnim">
        <pc:chgData name="Koen Verbeeck" userId="24d0e79a7fd977da" providerId="LiveId" clId="{BA62A9EE-AA9E-47FB-8CAA-896EFD47EA90}" dt="2022-03-27T21:03:50.491" v="3482"/>
        <pc:sldMkLst>
          <pc:docMk/>
          <pc:sldMk cId="2492527614" sldId="292"/>
        </pc:sldMkLst>
        <pc:spChg chg="add mod">
          <ac:chgData name="Koen Verbeeck" userId="24d0e79a7fd977da" providerId="LiveId" clId="{BA62A9EE-AA9E-47FB-8CAA-896EFD47EA90}" dt="2022-03-27T09:17:40.964" v="2419" actId="1076"/>
          <ac:spMkLst>
            <pc:docMk/>
            <pc:sldMk cId="2492527614" sldId="292"/>
            <ac:spMk id="6" creationId="{AD252D67-937F-4B3D-B625-3AAA873761D9}"/>
          </ac:spMkLst>
        </pc:spChg>
        <pc:spChg chg="add mod">
          <ac:chgData name="Koen Verbeeck" userId="24d0e79a7fd977da" providerId="LiveId" clId="{BA62A9EE-AA9E-47FB-8CAA-896EFD47EA90}" dt="2022-03-27T09:17:59.839" v="2424" actId="14100"/>
          <ac:spMkLst>
            <pc:docMk/>
            <pc:sldMk cId="2492527614" sldId="292"/>
            <ac:spMk id="7" creationId="{78E8D184-B026-4DF3-8692-5AAE8ACA3DFC}"/>
          </ac:spMkLst>
        </pc:spChg>
        <pc:spChg chg="add mod">
          <ac:chgData name="Koen Verbeeck" userId="24d0e79a7fd977da" providerId="LiveId" clId="{BA62A9EE-AA9E-47FB-8CAA-896EFD47EA90}" dt="2022-03-27T09:18:06.512" v="2426" actId="1076"/>
          <ac:spMkLst>
            <pc:docMk/>
            <pc:sldMk cId="2492527614" sldId="292"/>
            <ac:spMk id="9" creationId="{CEF00ECE-F850-4C6E-9845-E782995A8810}"/>
          </ac:spMkLst>
        </pc:spChg>
        <pc:spChg chg="add mod">
          <ac:chgData name="Koen Verbeeck" userId="24d0e79a7fd977da" providerId="LiveId" clId="{BA62A9EE-AA9E-47FB-8CAA-896EFD47EA90}" dt="2022-03-27T09:22:54.550" v="2486" actId="14100"/>
          <ac:spMkLst>
            <pc:docMk/>
            <pc:sldMk cId="2492527614" sldId="292"/>
            <ac:spMk id="11" creationId="{99CE7A63-F834-4775-B813-0939E01CD640}"/>
          </ac:spMkLst>
        </pc:spChg>
        <pc:spChg chg="add mod">
          <ac:chgData name="Koen Verbeeck" userId="24d0e79a7fd977da" providerId="LiveId" clId="{BA62A9EE-AA9E-47FB-8CAA-896EFD47EA90}" dt="2022-03-27T09:32:03.061" v="2821" actId="1035"/>
          <ac:spMkLst>
            <pc:docMk/>
            <pc:sldMk cId="2492527614" sldId="292"/>
            <ac:spMk id="12" creationId="{261974B3-66A3-46B7-A6A9-3E8BD80CF42F}"/>
          </ac:spMkLst>
        </pc:spChg>
        <pc:spChg chg="add mod">
          <ac:chgData name="Koen Verbeeck" userId="24d0e79a7fd977da" providerId="LiveId" clId="{BA62A9EE-AA9E-47FB-8CAA-896EFD47EA90}" dt="2022-03-27T09:22:40.399" v="2480" actId="1076"/>
          <ac:spMkLst>
            <pc:docMk/>
            <pc:sldMk cId="2492527614" sldId="292"/>
            <ac:spMk id="13" creationId="{C7C2E6A7-35DF-4A17-9DCD-729E64631BB1}"/>
          </ac:spMkLst>
        </pc:spChg>
        <pc:spChg chg="add mod">
          <ac:chgData name="Koen Verbeeck" userId="24d0e79a7fd977da" providerId="LiveId" clId="{BA62A9EE-AA9E-47FB-8CAA-896EFD47EA90}" dt="2022-03-27T09:23:06.081" v="2493" actId="20577"/>
          <ac:spMkLst>
            <pc:docMk/>
            <pc:sldMk cId="2492527614" sldId="292"/>
            <ac:spMk id="18" creationId="{6E5DA55E-B958-4BD7-BE01-4F1A700EC61B}"/>
          </ac:spMkLst>
        </pc:spChg>
        <pc:picChg chg="mod">
          <ac:chgData name="Koen Verbeeck" userId="24d0e79a7fd977da" providerId="LiveId" clId="{BA62A9EE-AA9E-47FB-8CAA-896EFD47EA90}" dt="2022-03-27T09:15:20.350" v="2408" actId="1076"/>
          <ac:picMkLst>
            <pc:docMk/>
            <pc:sldMk cId="2492527614" sldId="292"/>
            <ac:picMk id="4" creationId="{FE3AD832-3A9B-4264-9D55-C3B4E0831965}"/>
          </ac:picMkLst>
        </pc:picChg>
        <pc:picChg chg="add mod">
          <ac:chgData name="Koen Verbeeck" userId="24d0e79a7fd977da" providerId="LiveId" clId="{BA62A9EE-AA9E-47FB-8CAA-896EFD47EA90}" dt="2022-03-27T09:32:03.061" v="2821" actId="1035"/>
          <ac:picMkLst>
            <pc:docMk/>
            <pc:sldMk cId="2492527614" sldId="292"/>
            <ac:picMk id="20" creationId="{4B4435A8-47CA-433D-B60C-A843173F7D30}"/>
          </ac:picMkLst>
        </pc:picChg>
        <pc:cxnChg chg="add mod">
          <ac:chgData name="Koen Verbeeck" userId="24d0e79a7fd977da" providerId="LiveId" clId="{BA62A9EE-AA9E-47FB-8CAA-896EFD47EA90}" dt="2022-03-27T09:17:49.828" v="2421" actId="14100"/>
          <ac:cxnSpMkLst>
            <pc:docMk/>
            <pc:sldMk cId="2492527614" sldId="292"/>
            <ac:cxnSpMk id="5" creationId="{C5A3BC99-AEB3-4ECE-A1F7-3605D0AF2DBB}"/>
          </ac:cxnSpMkLst>
        </pc:cxnChg>
        <pc:cxnChg chg="add mod">
          <ac:chgData name="Koen Verbeeck" userId="24d0e79a7fd977da" providerId="LiveId" clId="{BA62A9EE-AA9E-47FB-8CAA-896EFD47EA90}" dt="2022-03-27T09:19:18.250" v="2434" actId="1035"/>
          <ac:cxnSpMkLst>
            <pc:docMk/>
            <pc:sldMk cId="2492527614" sldId="292"/>
            <ac:cxnSpMk id="10" creationId="{8E9038BA-502D-4F06-B09E-224EF22C66DB}"/>
          </ac:cxnSpMkLst>
        </pc:cxnChg>
        <pc:cxnChg chg="add mod">
          <ac:chgData name="Koen Verbeeck" userId="24d0e79a7fd977da" providerId="LiveId" clId="{BA62A9EE-AA9E-47FB-8CAA-896EFD47EA90}" dt="2022-03-27T09:22:50.679" v="2485" actId="14100"/>
          <ac:cxnSpMkLst>
            <pc:docMk/>
            <pc:sldMk cId="2492527614" sldId="292"/>
            <ac:cxnSpMk id="14" creationId="{EDFBD984-CA8E-471D-BAB5-B73B831DD999}"/>
          </ac:cxnSpMkLst>
        </pc:cxnChg>
      </pc:sldChg>
      <pc:sldChg chg="addSp delSp modSp new mod modClrScheme chgLayout">
        <pc:chgData name="Koen Verbeeck" userId="24d0e79a7fd977da" providerId="LiveId" clId="{BA62A9EE-AA9E-47FB-8CAA-896EFD47EA90}" dt="2022-03-27T10:48:07.348" v="3103" actId="27107"/>
        <pc:sldMkLst>
          <pc:docMk/>
          <pc:sldMk cId="172340278" sldId="293"/>
        </pc:sldMkLst>
        <pc:spChg chg="del mod ord">
          <ac:chgData name="Koen Verbeeck" userId="24d0e79a7fd977da" providerId="LiveId" clId="{BA62A9EE-AA9E-47FB-8CAA-896EFD47EA90}" dt="2022-03-27T10:46:16.858" v="2823" actId="700"/>
          <ac:spMkLst>
            <pc:docMk/>
            <pc:sldMk cId="172340278" sldId="293"/>
            <ac:spMk id="2" creationId="{A1DDD2DC-86D2-4D17-A7C9-BDDED17FDFE1}"/>
          </ac:spMkLst>
        </pc:spChg>
        <pc:spChg chg="del mod ord">
          <ac:chgData name="Koen Verbeeck" userId="24d0e79a7fd977da" providerId="LiveId" clId="{BA62A9EE-AA9E-47FB-8CAA-896EFD47EA90}" dt="2022-03-27T10:46:16.858" v="2823" actId="700"/>
          <ac:spMkLst>
            <pc:docMk/>
            <pc:sldMk cId="172340278" sldId="293"/>
            <ac:spMk id="3" creationId="{5B490810-9518-4A1D-AC0F-5AD1E2C8BDB5}"/>
          </ac:spMkLst>
        </pc:spChg>
        <pc:spChg chg="add mod ord">
          <ac:chgData name="Koen Verbeeck" userId="24d0e79a7fd977da" providerId="LiveId" clId="{BA62A9EE-AA9E-47FB-8CAA-896EFD47EA90}" dt="2022-03-27T10:46:21.298" v="2835" actId="20577"/>
          <ac:spMkLst>
            <pc:docMk/>
            <pc:sldMk cId="172340278" sldId="293"/>
            <ac:spMk id="4" creationId="{0489F0C6-5408-4D92-AAE0-AB4F2660C0FF}"/>
          </ac:spMkLst>
        </pc:spChg>
        <pc:spChg chg="add mod ord">
          <ac:chgData name="Koen Verbeeck" userId="24d0e79a7fd977da" providerId="LiveId" clId="{BA62A9EE-AA9E-47FB-8CAA-896EFD47EA90}" dt="2022-03-27T10:48:07.348" v="3103" actId="27107"/>
          <ac:spMkLst>
            <pc:docMk/>
            <pc:sldMk cId="172340278" sldId="293"/>
            <ac:spMk id="5" creationId="{0B780BED-E3D6-421F-9392-0C53B486B808}"/>
          </ac:spMkLst>
        </pc:spChg>
      </pc:sldChg>
      <pc:sldChg chg="addSp modSp new mod">
        <pc:chgData name="Koen Verbeeck" userId="24d0e79a7fd977da" providerId="LiveId" clId="{BA62A9EE-AA9E-47FB-8CAA-896EFD47EA90}" dt="2022-03-27T10:51:41.222" v="3217" actId="5793"/>
        <pc:sldMkLst>
          <pc:docMk/>
          <pc:sldMk cId="4145993966" sldId="294"/>
        </pc:sldMkLst>
        <pc:spChg chg="mod">
          <ac:chgData name="Koen Verbeeck" userId="24d0e79a7fd977da" providerId="LiveId" clId="{BA62A9EE-AA9E-47FB-8CAA-896EFD47EA90}" dt="2022-03-27T10:49:30.349" v="3124" actId="20577"/>
          <ac:spMkLst>
            <pc:docMk/>
            <pc:sldMk cId="4145993966" sldId="294"/>
            <ac:spMk id="2" creationId="{457105BF-D997-4A0C-BD31-594F6D1DC319}"/>
          </ac:spMkLst>
        </pc:spChg>
        <pc:spChg chg="mod">
          <ac:chgData name="Koen Verbeeck" userId="24d0e79a7fd977da" providerId="LiveId" clId="{BA62A9EE-AA9E-47FB-8CAA-896EFD47EA90}" dt="2022-03-27T10:51:41.222" v="3217" actId="5793"/>
          <ac:spMkLst>
            <pc:docMk/>
            <pc:sldMk cId="4145993966" sldId="294"/>
            <ac:spMk id="3" creationId="{AECA7427-CD68-4C23-B331-42F6ECFEFAC6}"/>
          </ac:spMkLst>
        </pc:spChg>
        <pc:picChg chg="add mod">
          <ac:chgData name="Koen Verbeeck" userId="24d0e79a7fd977da" providerId="LiveId" clId="{BA62A9EE-AA9E-47FB-8CAA-896EFD47EA90}" dt="2022-03-27T10:50:38.422" v="3174" actId="14100"/>
          <ac:picMkLst>
            <pc:docMk/>
            <pc:sldMk cId="4145993966" sldId="294"/>
            <ac:picMk id="5" creationId="{DD469F4B-8850-4F4E-91C3-49298F0010DE}"/>
          </ac:picMkLst>
        </pc:picChg>
        <pc:picChg chg="add mod">
          <ac:chgData name="Koen Verbeeck" userId="24d0e79a7fd977da" providerId="LiveId" clId="{BA62A9EE-AA9E-47FB-8CAA-896EFD47EA90}" dt="2022-03-27T10:51:07.671" v="3183" actId="14100"/>
          <ac:picMkLst>
            <pc:docMk/>
            <pc:sldMk cId="4145993966" sldId="294"/>
            <ac:picMk id="7" creationId="{90A52322-4FD0-427B-A052-2EF5C0A8D6A9}"/>
          </ac:picMkLst>
        </pc:picChg>
      </pc:sldChg>
      <pc:sldChg chg="addSp delSp modSp add mod modAnim">
        <pc:chgData name="Koen Verbeeck" userId="24d0e79a7fd977da" providerId="LiveId" clId="{BA62A9EE-AA9E-47FB-8CAA-896EFD47EA90}" dt="2022-03-27T20:55:46.130" v="3427"/>
        <pc:sldMkLst>
          <pc:docMk/>
          <pc:sldMk cId="2692153975" sldId="295"/>
        </pc:sldMkLst>
        <pc:spChg chg="mod">
          <ac:chgData name="Koen Verbeeck" userId="24d0e79a7fd977da" providerId="LiveId" clId="{BA62A9EE-AA9E-47FB-8CAA-896EFD47EA90}" dt="2022-03-27T20:39:44.679" v="3302" actId="20577"/>
          <ac:spMkLst>
            <pc:docMk/>
            <pc:sldMk cId="2692153975" sldId="295"/>
            <ac:spMk id="8" creationId="{514C66CD-F402-4043-8E1C-217F419290A9}"/>
          </ac:spMkLst>
        </pc:spChg>
        <pc:spChg chg="mod">
          <ac:chgData name="Koen Verbeeck" userId="24d0e79a7fd977da" providerId="LiveId" clId="{BA62A9EE-AA9E-47FB-8CAA-896EFD47EA90}" dt="2022-03-27T20:39:48.395" v="3304" actId="20577"/>
          <ac:spMkLst>
            <pc:docMk/>
            <pc:sldMk cId="2692153975" sldId="295"/>
            <ac:spMk id="9" creationId="{B600489D-534B-4315-B6EE-62B9D1A1914E}"/>
          </ac:spMkLst>
        </pc:spChg>
        <pc:spChg chg="del">
          <ac:chgData name="Koen Verbeeck" userId="24d0e79a7fd977da" providerId="LiveId" clId="{BA62A9EE-AA9E-47FB-8CAA-896EFD47EA90}" dt="2022-03-27T20:47:52.410" v="3358" actId="478"/>
          <ac:spMkLst>
            <pc:docMk/>
            <pc:sldMk cId="2692153975" sldId="295"/>
            <ac:spMk id="25" creationId="{0E71BF6E-3C00-4036-A6EC-A8ABA6BF4100}"/>
          </ac:spMkLst>
        </pc:spChg>
        <pc:spChg chg="add mod">
          <ac:chgData name="Koen Verbeeck" userId="24d0e79a7fd977da" providerId="LiveId" clId="{BA62A9EE-AA9E-47FB-8CAA-896EFD47EA90}" dt="2022-03-27T20:47:53.685" v="3359"/>
          <ac:spMkLst>
            <pc:docMk/>
            <pc:sldMk cId="2692153975" sldId="295"/>
            <ac:spMk id="46" creationId="{75D00B97-7F81-41A0-BF7B-C448D4BD13B7}"/>
          </ac:spMkLst>
        </pc:spChg>
        <pc:grpChg chg="add mod">
          <ac:chgData name="Koen Verbeeck" userId="24d0e79a7fd977da" providerId="LiveId" clId="{BA62A9EE-AA9E-47FB-8CAA-896EFD47EA90}" dt="2022-03-27T20:55:02.646" v="3382" actId="1076"/>
          <ac:grpSpMkLst>
            <pc:docMk/>
            <pc:sldMk cId="2692153975" sldId="295"/>
            <ac:grpSpMk id="2" creationId="{99FFCC23-7D19-49F0-91F9-0C4EE9572635}"/>
          </ac:grpSpMkLst>
        </pc:grpChg>
        <pc:grpChg chg="mod">
          <ac:chgData name="Koen Verbeeck" userId="24d0e79a7fd977da" providerId="LiveId" clId="{BA62A9EE-AA9E-47FB-8CAA-896EFD47EA90}" dt="2022-03-27T20:51:19.056" v="3372" actId="164"/>
          <ac:grpSpMkLst>
            <pc:docMk/>
            <pc:sldMk cId="2692153975" sldId="295"/>
            <ac:grpSpMk id="32" creationId="{03382A32-EB5C-4E79-B8D6-13F33E06DE2B}"/>
          </ac:grpSpMkLst>
        </pc:grpChg>
        <pc:grpChg chg="mod">
          <ac:chgData name="Koen Verbeeck" userId="24d0e79a7fd977da" providerId="LiveId" clId="{BA62A9EE-AA9E-47FB-8CAA-896EFD47EA90}" dt="2022-03-27T20:51:19.056" v="3372" actId="164"/>
          <ac:grpSpMkLst>
            <pc:docMk/>
            <pc:sldMk cId="2692153975" sldId="295"/>
            <ac:grpSpMk id="34" creationId="{706BE893-A332-4444-8486-32748075D8FF}"/>
          </ac:grpSpMkLst>
        </pc:grpChg>
        <pc:picChg chg="mod">
          <ac:chgData name="Koen Verbeeck" userId="24d0e79a7fd977da" providerId="LiveId" clId="{BA62A9EE-AA9E-47FB-8CAA-896EFD47EA90}" dt="2022-03-27T20:51:19.056" v="3372" actId="164"/>
          <ac:picMkLst>
            <pc:docMk/>
            <pc:sldMk cId="2692153975" sldId="295"/>
            <ac:picMk id="39" creationId="{7077C963-030F-40B5-A995-A4BD4004CC80}"/>
          </ac:picMkLst>
        </pc:picChg>
        <pc:picChg chg="mod">
          <ac:chgData name="Koen Verbeeck" userId="24d0e79a7fd977da" providerId="LiveId" clId="{BA62A9EE-AA9E-47FB-8CAA-896EFD47EA90}" dt="2022-03-27T20:51:19.056" v="3372" actId="164"/>
          <ac:picMkLst>
            <pc:docMk/>
            <pc:sldMk cId="2692153975" sldId="295"/>
            <ac:picMk id="41" creationId="{A92714C7-9BC0-4C72-9E9D-E0626084A2B3}"/>
          </ac:picMkLst>
        </pc:picChg>
        <pc:picChg chg="mod">
          <ac:chgData name="Koen Verbeeck" userId="24d0e79a7fd977da" providerId="LiveId" clId="{BA62A9EE-AA9E-47FB-8CAA-896EFD47EA90}" dt="2022-03-27T20:51:19.056" v="3372" actId="164"/>
          <ac:picMkLst>
            <pc:docMk/>
            <pc:sldMk cId="2692153975" sldId="295"/>
            <ac:picMk id="42" creationId="{19B8AAA9-F92A-4288-B439-CCAFCA4DA257}"/>
          </ac:picMkLst>
        </pc:picChg>
        <pc:picChg chg="mod">
          <ac:chgData name="Koen Verbeeck" userId="24d0e79a7fd977da" providerId="LiveId" clId="{BA62A9EE-AA9E-47FB-8CAA-896EFD47EA90}" dt="2022-03-27T20:51:19.056" v="3372" actId="164"/>
          <ac:picMkLst>
            <pc:docMk/>
            <pc:sldMk cId="2692153975" sldId="295"/>
            <ac:picMk id="44" creationId="{224D5459-5409-4FBD-88DF-3488E60325B7}"/>
          </ac:picMkLst>
        </pc:picChg>
        <pc:picChg chg="mod">
          <ac:chgData name="Koen Verbeeck" userId="24d0e79a7fd977da" providerId="LiveId" clId="{BA62A9EE-AA9E-47FB-8CAA-896EFD47EA90}" dt="2022-03-27T20:51:55.836" v="3375" actId="1076"/>
          <ac:picMkLst>
            <pc:docMk/>
            <pc:sldMk cId="2692153975" sldId="295"/>
            <ac:picMk id="47" creationId="{2267092B-A1FA-4126-8A8C-380A75480807}"/>
          </ac:picMkLst>
        </pc:picChg>
        <pc:cxnChg chg="del">
          <ac:chgData name="Koen Verbeeck" userId="24d0e79a7fd977da" providerId="LiveId" clId="{BA62A9EE-AA9E-47FB-8CAA-896EFD47EA90}" dt="2022-03-27T20:47:45.668" v="3356" actId="478"/>
          <ac:cxnSpMkLst>
            <pc:docMk/>
            <pc:sldMk cId="2692153975" sldId="295"/>
            <ac:cxnSpMk id="14" creationId="{3499CCA7-A0B4-4B92-BBE0-C0B4A02D237E}"/>
          </ac:cxnSpMkLst>
        </pc:cxnChg>
        <pc:cxnChg chg="del">
          <ac:chgData name="Koen Verbeeck" userId="24d0e79a7fd977da" providerId="LiveId" clId="{BA62A9EE-AA9E-47FB-8CAA-896EFD47EA90}" dt="2022-03-27T20:47:48.289" v="3357" actId="478"/>
          <ac:cxnSpMkLst>
            <pc:docMk/>
            <pc:sldMk cId="2692153975" sldId="295"/>
            <ac:cxnSpMk id="23" creationId="{C14EDB73-8A28-4159-AFF9-BBBEDF0F98F2}"/>
          </ac:cxnSpMkLst>
        </pc:cxnChg>
        <pc:cxnChg chg="add mod">
          <ac:chgData name="Koen Verbeeck" userId="24d0e79a7fd977da" providerId="LiveId" clId="{BA62A9EE-AA9E-47FB-8CAA-896EFD47EA90}" dt="2022-03-27T20:47:53.685" v="3359"/>
          <ac:cxnSpMkLst>
            <pc:docMk/>
            <pc:sldMk cId="2692153975" sldId="295"/>
            <ac:cxnSpMk id="40" creationId="{0BD32F2D-8F8E-471B-8668-C7E1B7DE7EDC}"/>
          </ac:cxnSpMkLst>
        </pc:cxnChg>
        <pc:cxnChg chg="add mod">
          <ac:chgData name="Koen Verbeeck" userId="24d0e79a7fd977da" providerId="LiveId" clId="{BA62A9EE-AA9E-47FB-8CAA-896EFD47EA90}" dt="2022-03-27T20:47:53.685" v="3359"/>
          <ac:cxnSpMkLst>
            <pc:docMk/>
            <pc:sldMk cId="2692153975" sldId="295"/>
            <ac:cxnSpMk id="43" creationId="{269B2C34-6467-4508-9364-0CDC6DA80A7F}"/>
          </ac:cxnSpMkLst>
        </pc:cxnChg>
      </pc:sldChg>
      <pc:sldChg chg="delSp modSp add mod ord modAnim">
        <pc:chgData name="Koen Verbeeck" userId="24d0e79a7fd977da" providerId="LiveId" clId="{BA62A9EE-AA9E-47FB-8CAA-896EFD47EA90}" dt="2022-03-27T20:42:00.851" v="3321"/>
        <pc:sldMkLst>
          <pc:docMk/>
          <pc:sldMk cId="988464398" sldId="296"/>
        </pc:sldMkLst>
        <pc:spChg chg="mod">
          <ac:chgData name="Koen Verbeeck" userId="24d0e79a7fd977da" providerId="LiveId" clId="{BA62A9EE-AA9E-47FB-8CAA-896EFD47EA90}" dt="2022-03-27T20:41:32.624" v="3316" actId="1036"/>
          <ac:spMkLst>
            <pc:docMk/>
            <pc:sldMk cId="988464398" sldId="296"/>
            <ac:spMk id="25" creationId="{0E71BF6E-3C00-4036-A6EC-A8ABA6BF4100}"/>
          </ac:spMkLst>
        </pc:spChg>
        <pc:spChg chg="del">
          <ac:chgData name="Koen Verbeeck" userId="24d0e79a7fd977da" providerId="LiveId" clId="{BA62A9EE-AA9E-47FB-8CAA-896EFD47EA90}" dt="2022-03-27T20:40:16.394" v="3306" actId="478"/>
          <ac:spMkLst>
            <pc:docMk/>
            <pc:sldMk cId="988464398" sldId="296"/>
            <ac:spMk id="27" creationId="{15C9A6ED-73EE-4B93-94E2-A606D1F6E4CF}"/>
          </ac:spMkLst>
        </pc:spChg>
        <pc:spChg chg="del">
          <ac:chgData name="Koen Verbeeck" userId="24d0e79a7fd977da" providerId="LiveId" clId="{BA62A9EE-AA9E-47FB-8CAA-896EFD47EA90}" dt="2022-03-27T20:40:20.828" v="3307" actId="478"/>
          <ac:spMkLst>
            <pc:docMk/>
            <pc:sldMk cId="988464398" sldId="296"/>
            <ac:spMk id="48" creationId="{39774655-466C-416B-89C8-E6C869FD7FE6}"/>
          </ac:spMkLst>
        </pc:spChg>
        <pc:grpChg chg="del">
          <ac:chgData name="Koen Verbeeck" userId="24d0e79a7fd977da" providerId="LiveId" clId="{BA62A9EE-AA9E-47FB-8CAA-896EFD47EA90}" dt="2022-03-27T20:40:24.668" v="3308" actId="478"/>
          <ac:grpSpMkLst>
            <pc:docMk/>
            <pc:sldMk cId="988464398" sldId="296"/>
            <ac:grpSpMk id="32" creationId="{03382A32-EB5C-4E79-B8D6-13F33E06DE2B}"/>
          </ac:grpSpMkLst>
        </pc:grpChg>
        <pc:grpChg chg="del">
          <ac:chgData name="Koen Verbeeck" userId="24d0e79a7fd977da" providerId="LiveId" clId="{BA62A9EE-AA9E-47FB-8CAA-896EFD47EA90}" dt="2022-03-27T20:40:24.668" v="3308" actId="478"/>
          <ac:grpSpMkLst>
            <pc:docMk/>
            <pc:sldMk cId="988464398" sldId="296"/>
            <ac:grpSpMk id="34" creationId="{706BE893-A332-4444-8486-32748075D8FF}"/>
          </ac:grpSpMkLst>
        </pc:grpChg>
        <pc:picChg chg="del">
          <ac:chgData name="Koen Verbeeck" userId="24d0e79a7fd977da" providerId="LiveId" clId="{BA62A9EE-AA9E-47FB-8CAA-896EFD47EA90}" dt="2022-03-27T20:40:24.668" v="3308" actId="478"/>
          <ac:picMkLst>
            <pc:docMk/>
            <pc:sldMk cId="988464398" sldId="296"/>
            <ac:picMk id="39" creationId="{7077C963-030F-40B5-A995-A4BD4004CC80}"/>
          </ac:picMkLst>
        </pc:picChg>
        <pc:picChg chg="del">
          <ac:chgData name="Koen Verbeeck" userId="24d0e79a7fd977da" providerId="LiveId" clId="{BA62A9EE-AA9E-47FB-8CAA-896EFD47EA90}" dt="2022-03-27T20:40:24.668" v="3308" actId="478"/>
          <ac:picMkLst>
            <pc:docMk/>
            <pc:sldMk cId="988464398" sldId="296"/>
            <ac:picMk id="41" creationId="{A92714C7-9BC0-4C72-9E9D-E0626084A2B3}"/>
          </ac:picMkLst>
        </pc:picChg>
        <pc:picChg chg="del">
          <ac:chgData name="Koen Verbeeck" userId="24d0e79a7fd977da" providerId="LiveId" clId="{BA62A9EE-AA9E-47FB-8CAA-896EFD47EA90}" dt="2022-03-27T20:40:24.668" v="3308" actId="478"/>
          <ac:picMkLst>
            <pc:docMk/>
            <pc:sldMk cId="988464398" sldId="296"/>
            <ac:picMk id="42" creationId="{19B8AAA9-F92A-4288-B439-CCAFCA4DA257}"/>
          </ac:picMkLst>
        </pc:picChg>
        <pc:picChg chg="del">
          <ac:chgData name="Koen Verbeeck" userId="24d0e79a7fd977da" providerId="LiveId" clId="{BA62A9EE-AA9E-47FB-8CAA-896EFD47EA90}" dt="2022-03-27T20:40:24.668" v="3308" actId="478"/>
          <ac:picMkLst>
            <pc:docMk/>
            <pc:sldMk cId="988464398" sldId="296"/>
            <ac:picMk id="44" creationId="{224D5459-5409-4FBD-88DF-3488E60325B7}"/>
          </ac:picMkLst>
        </pc:picChg>
        <pc:picChg chg="del">
          <ac:chgData name="Koen Verbeeck" userId="24d0e79a7fd977da" providerId="LiveId" clId="{BA62A9EE-AA9E-47FB-8CAA-896EFD47EA90}" dt="2022-03-27T20:40:20.828" v="3307" actId="478"/>
          <ac:picMkLst>
            <pc:docMk/>
            <pc:sldMk cId="988464398" sldId="296"/>
            <ac:picMk id="47" creationId="{2267092B-A1FA-4126-8A8C-380A75480807}"/>
          </ac:picMkLst>
        </pc:picChg>
        <pc:picChg chg="del">
          <ac:chgData name="Koen Verbeeck" userId="24d0e79a7fd977da" providerId="LiveId" clId="{BA62A9EE-AA9E-47FB-8CAA-896EFD47EA90}" dt="2022-03-27T20:40:16.394" v="3306" actId="478"/>
          <ac:picMkLst>
            <pc:docMk/>
            <pc:sldMk cId="988464398" sldId="296"/>
            <ac:picMk id="13316" creationId="{CE3CC49B-B805-495F-BD56-29B4042D2B4E}"/>
          </ac:picMkLst>
        </pc:picChg>
        <pc:cxnChg chg="mod">
          <ac:chgData name="Koen Verbeeck" userId="24d0e79a7fd977da" providerId="LiveId" clId="{BA62A9EE-AA9E-47FB-8CAA-896EFD47EA90}" dt="2022-03-27T20:41:20.455" v="3311" actId="692"/>
          <ac:cxnSpMkLst>
            <pc:docMk/>
            <pc:sldMk cId="988464398" sldId="296"/>
            <ac:cxnSpMk id="14" creationId="{3499CCA7-A0B4-4B92-BBE0-C0B4A02D237E}"/>
          </ac:cxnSpMkLst>
        </pc:cxnChg>
        <pc:cxnChg chg="mod">
          <ac:chgData name="Koen Verbeeck" userId="24d0e79a7fd977da" providerId="LiveId" clId="{BA62A9EE-AA9E-47FB-8CAA-896EFD47EA90}" dt="2022-03-27T20:41:51.021" v="3320" actId="692"/>
          <ac:cxnSpMkLst>
            <pc:docMk/>
            <pc:sldMk cId="988464398" sldId="296"/>
            <ac:cxnSpMk id="23" creationId="{C14EDB73-8A28-4159-AFF9-BBBEDF0F98F2}"/>
          </ac:cxnSpMkLst>
        </pc:cxnChg>
        <pc:cxnChg chg="del">
          <ac:chgData name="Koen Verbeeck" userId="24d0e79a7fd977da" providerId="LiveId" clId="{BA62A9EE-AA9E-47FB-8CAA-896EFD47EA90}" dt="2022-03-27T20:40:16.394" v="3306" actId="478"/>
          <ac:cxnSpMkLst>
            <pc:docMk/>
            <pc:sldMk cId="988464398" sldId="296"/>
            <ac:cxnSpMk id="26" creationId="{42AE32BA-24B4-46D2-B5F9-5DCBB4BD9BBE}"/>
          </ac:cxnSpMkLst>
        </pc:cxnChg>
      </pc:sldChg>
      <pc:sldChg chg="addSp modSp new mod modAnim">
        <pc:chgData name="Koen Verbeeck" userId="24d0e79a7fd977da" providerId="LiveId" clId="{BA62A9EE-AA9E-47FB-8CAA-896EFD47EA90}" dt="2022-03-27T20:47:05.972" v="3354"/>
        <pc:sldMkLst>
          <pc:docMk/>
          <pc:sldMk cId="12938619" sldId="297"/>
        </pc:sldMkLst>
        <pc:spChg chg="mod">
          <ac:chgData name="Koen Verbeeck" userId="24d0e79a7fd977da" providerId="LiveId" clId="{BA62A9EE-AA9E-47FB-8CAA-896EFD47EA90}" dt="2022-03-27T20:45:02.055" v="3345" actId="20577"/>
          <ac:spMkLst>
            <pc:docMk/>
            <pc:sldMk cId="12938619" sldId="297"/>
            <ac:spMk id="2" creationId="{60F063D2-BFD6-4D72-A1BB-49AD12F5BA0D}"/>
          </ac:spMkLst>
        </pc:spChg>
        <pc:spChg chg="add mod">
          <ac:chgData name="Koen Verbeeck" userId="24d0e79a7fd977da" providerId="LiveId" clId="{BA62A9EE-AA9E-47FB-8CAA-896EFD47EA90}" dt="2022-03-27T20:45:43.293" v="3351" actId="14100"/>
          <ac:spMkLst>
            <pc:docMk/>
            <pc:sldMk cId="12938619" sldId="297"/>
            <ac:spMk id="5" creationId="{1A699153-830A-4C58-BBEC-E3C7DD8DBD29}"/>
          </ac:spMkLst>
        </pc:spChg>
        <pc:picChg chg="add mod">
          <ac:chgData name="Koen Verbeeck" userId="24d0e79a7fd977da" providerId="LiveId" clId="{BA62A9EE-AA9E-47FB-8CAA-896EFD47EA90}" dt="2022-03-27T20:45:09.688" v="3348" actId="14100"/>
          <ac:picMkLst>
            <pc:docMk/>
            <pc:sldMk cId="12938619" sldId="297"/>
            <ac:picMk id="4" creationId="{53EDB72B-D8D7-4E85-95B8-3278552BC5EB}"/>
          </ac:picMkLst>
        </pc:picChg>
        <pc:picChg chg="add mod">
          <ac:chgData name="Koen Verbeeck" userId="24d0e79a7fd977da" providerId="LiveId" clId="{BA62A9EE-AA9E-47FB-8CAA-896EFD47EA90}" dt="2022-03-27T20:47:00.841" v="3353" actId="1076"/>
          <ac:picMkLst>
            <pc:docMk/>
            <pc:sldMk cId="12938619" sldId="297"/>
            <ac:picMk id="7" creationId="{EC72C8AD-B357-4A34-A22C-8B622696ED39}"/>
          </ac:picMkLst>
        </pc:picChg>
      </pc:sldChg>
      <pc:sldChg chg="addSp delSp modSp add del mod">
        <pc:chgData name="Koen Verbeeck" userId="24d0e79a7fd977da" providerId="LiveId" clId="{BA62A9EE-AA9E-47FB-8CAA-896EFD47EA90}" dt="2022-03-27T20:51:37.104" v="3373" actId="47"/>
        <pc:sldMkLst>
          <pc:docMk/>
          <pc:sldMk cId="2463894761" sldId="298"/>
        </pc:sldMkLst>
        <pc:spChg chg="del">
          <ac:chgData name="Koen Verbeeck" userId="24d0e79a7fd977da" providerId="LiveId" clId="{BA62A9EE-AA9E-47FB-8CAA-896EFD47EA90}" dt="2022-03-27T20:48:05.567" v="3362" actId="478"/>
          <ac:spMkLst>
            <pc:docMk/>
            <pc:sldMk cId="2463894761" sldId="298"/>
            <ac:spMk id="25" creationId="{0E71BF6E-3C00-4036-A6EC-A8ABA6BF4100}"/>
          </ac:spMkLst>
        </pc:spChg>
        <pc:spChg chg="add mod">
          <ac:chgData name="Koen Verbeeck" userId="24d0e79a7fd977da" providerId="LiveId" clId="{BA62A9EE-AA9E-47FB-8CAA-896EFD47EA90}" dt="2022-03-27T20:48:06.778" v="3363"/>
          <ac:spMkLst>
            <pc:docMk/>
            <pc:sldMk cId="2463894761" sldId="298"/>
            <ac:spMk id="46" creationId="{8ADB4F1B-FBE8-4EE7-BDE0-4057DFA21785}"/>
          </ac:spMkLst>
        </pc:spChg>
        <pc:cxnChg chg="del">
          <ac:chgData name="Koen Verbeeck" userId="24d0e79a7fd977da" providerId="LiveId" clId="{BA62A9EE-AA9E-47FB-8CAA-896EFD47EA90}" dt="2022-03-27T20:48:01.096" v="3360" actId="478"/>
          <ac:cxnSpMkLst>
            <pc:docMk/>
            <pc:sldMk cId="2463894761" sldId="298"/>
            <ac:cxnSpMk id="14" creationId="{3499CCA7-A0B4-4B92-BBE0-C0B4A02D237E}"/>
          </ac:cxnSpMkLst>
        </pc:cxnChg>
        <pc:cxnChg chg="del">
          <ac:chgData name="Koen Verbeeck" userId="24d0e79a7fd977da" providerId="LiveId" clId="{BA62A9EE-AA9E-47FB-8CAA-896EFD47EA90}" dt="2022-03-27T20:48:03.213" v="3361" actId="478"/>
          <ac:cxnSpMkLst>
            <pc:docMk/>
            <pc:sldMk cId="2463894761" sldId="298"/>
            <ac:cxnSpMk id="23" creationId="{C14EDB73-8A28-4159-AFF9-BBBEDF0F98F2}"/>
          </ac:cxnSpMkLst>
        </pc:cxnChg>
        <pc:cxnChg chg="add mod">
          <ac:chgData name="Koen Verbeeck" userId="24d0e79a7fd977da" providerId="LiveId" clId="{BA62A9EE-AA9E-47FB-8CAA-896EFD47EA90}" dt="2022-03-27T20:48:06.778" v="3363"/>
          <ac:cxnSpMkLst>
            <pc:docMk/>
            <pc:sldMk cId="2463894761" sldId="298"/>
            <ac:cxnSpMk id="40" creationId="{086B634E-733C-4C41-AD09-7DCDEC08B588}"/>
          </ac:cxnSpMkLst>
        </pc:cxnChg>
        <pc:cxnChg chg="add mod">
          <ac:chgData name="Koen Verbeeck" userId="24d0e79a7fd977da" providerId="LiveId" clId="{BA62A9EE-AA9E-47FB-8CAA-896EFD47EA90}" dt="2022-03-27T20:48:06.778" v="3363"/>
          <ac:cxnSpMkLst>
            <pc:docMk/>
            <pc:sldMk cId="2463894761" sldId="298"/>
            <ac:cxnSpMk id="43" creationId="{FA6C7C10-834C-4413-88E9-DFFDA83CFFD2}"/>
          </ac:cxnSpMkLst>
        </pc:cxnChg>
      </pc:sldChg>
      <pc:sldChg chg="modSp new mod">
        <pc:chgData name="Koen Verbeeck" userId="24d0e79a7fd977da" providerId="LiveId" clId="{BA62A9EE-AA9E-47FB-8CAA-896EFD47EA90}" dt="2022-03-28T09:19:17.532" v="3696" actId="20577"/>
        <pc:sldMkLst>
          <pc:docMk/>
          <pc:sldMk cId="3202223974" sldId="298"/>
        </pc:sldMkLst>
        <pc:spChg chg="mod">
          <ac:chgData name="Koen Verbeeck" userId="24d0e79a7fd977da" providerId="LiveId" clId="{BA62A9EE-AA9E-47FB-8CAA-896EFD47EA90}" dt="2022-03-27T21:05:30.161" v="3492" actId="20577"/>
          <ac:spMkLst>
            <pc:docMk/>
            <pc:sldMk cId="3202223974" sldId="298"/>
            <ac:spMk id="2" creationId="{11589A62-D62C-44A7-A932-A8CFF61D689E}"/>
          </ac:spMkLst>
        </pc:spChg>
        <pc:spChg chg="mod">
          <ac:chgData name="Koen Verbeeck" userId="24d0e79a7fd977da" providerId="LiveId" clId="{BA62A9EE-AA9E-47FB-8CAA-896EFD47EA90}" dt="2022-03-28T09:19:17.532" v="3696" actId="20577"/>
          <ac:spMkLst>
            <pc:docMk/>
            <pc:sldMk cId="3202223974" sldId="298"/>
            <ac:spMk id="3" creationId="{15DBE023-91DF-46E4-8605-9B11981CD92D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DEA963-AF5C-4EB7-8FE2-1FD5571E2257}" type="datetimeFigureOut">
              <a:rPr lang="nl-BE" smtClean="0"/>
              <a:t>21/05/2022</a:t>
            </a:fld>
            <a:endParaRPr lang="nl-B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B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B1ADB2-3E75-4B32-B675-A1D4DB512286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3283421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B1ADB2-3E75-4B32-B675-A1D4DB512286}" type="slidenum">
              <a:rPr lang="nl-BE" smtClean="0"/>
              <a:t>4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9007889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B1ADB2-3E75-4B32-B675-A1D4DB512286}" type="slidenum">
              <a:rPr lang="nl-BE" smtClean="0"/>
              <a:t>5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1332965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mpare with tools like SSIS and Pentaho.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B1ADB2-3E75-4B32-B675-A1D4DB512286}" type="slidenum">
              <a:rPr lang="nl-BE" smtClean="0"/>
              <a:t>6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5318866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Activies</a:t>
            </a:r>
            <a:r>
              <a:rPr lang="en-US" dirty="0"/>
              <a:t> perform a certain task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Execute a script on a databas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tart a Databricks Noteboo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all a Logic App using an HTTP cal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opy Data from A to B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B1ADB2-3E75-4B32-B675-A1D4DB512286}" type="slidenum">
              <a:rPr lang="nl-BE" smtClean="0"/>
              <a:t>12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2195689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defines format</a:t>
            </a:r>
            <a:br>
              <a:rPr lang="en-US" dirty="0"/>
            </a:br>
            <a:r>
              <a:rPr lang="en-US" dirty="0"/>
              <a:t>of the data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B1ADB2-3E75-4B32-B675-A1D4DB512286}" type="slidenum">
              <a:rPr lang="nl-BE" smtClean="0"/>
              <a:t>17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189169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how a simple pipeline (through copy wizard)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B1ADB2-3E75-4B32-B675-A1D4DB512286}" type="slidenum">
              <a:rPr lang="nl-BE" smtClean="0"/>
              <a:t>18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0321819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B1ADB2-3E75-4B32-B675-A1D4DB512286}" type="slidenum">
              <a:rPr lang="nl-BE" smtClean="0"/>
              <a:t>39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5476893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B1ADB2-3E75-4B32-B675-A1D4DB512286}" type="slidenum">
              <a:rPr lang="nl-BE" smtClean="0"/>
              <a:t>40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72584420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B1ADB2-3E75-4B32-B675-A1D4DB512286}" type="slidenum">
              <a:rPr lang="nl-BE" smtClean="0"/>
              <a:t>42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2990774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526E4462-5B2D-43A4-9836-48526B6DECB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0724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7FC2D5-D9E3-473F-A8C6-B31EEF67DF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1260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7FC2D5-D9E3-473F-A8C6-B31EEF67DF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5F707CC9-8CF8-44D2-93B4-181A7099C479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DC59A54C-02E1-4A74-82E4-B0708FDBC11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26238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D97D345-4962-4F7E-A5F5-274B1BF3AA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590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D97D345-4962-4F7E-A5F5-274B1BF3AA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6CD5684-C2E6-4D89-B49C-8683F82B7AAC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148FA715-82B0-43C1-8939-9D262E2BB787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1595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292C25-C9F4-4555-BCBE-9E956597F4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8640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292C25-C9F4-4555-BCBE-9E956597F4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CE4302FF-B4C8-4D37-B296-F48B7B0A1E48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C88F13C7-8F91-4C5C-A916-DE8BEA02EB81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8353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4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E482F4-6C4E-4672-B9BE-FCF484C0A4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845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E482F4-6C4E-4672-B9BE-FCF484C0A4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4A94802-ABCB-4693-B6BB-6BA1B3823344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2FF8BBAB-9E59-42B5-8223-87DDFA334CD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506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5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599A0EF-4D88-4718-B39E-D6F618274A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477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599A0EF-4D88-4718-B39E-D6F618274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B811AA18-1656-43EE-BA32-2FB90475C8B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F9D31045-6744-4BD0-AFA1-B78E79FAAA15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3685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6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94E4B2-A3DD-429A-9CE5-91DE4FAFD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2696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94E4B2-A3DD-429A-9CE5-91DE4FAFD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5CA179D3-E01C-43D9-B806-74C5BB2554A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1EEB5305-9005-42E8-B481-2C021299C7E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00496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243803915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7" name="Titel 1">
            <a:extLst>
              <a:ext uri="{FF2B5EF4-FFF2-40B4-BE49-F238E27FC236}">
                <a16:creationId xmlns:a16="http://schemas.microsoft.com/office/drawing/2014/main" id="{C8BC8CF9-FA7C-4544-A54D-F44E028326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995048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5" name="Groep 4">
            <a:extLst>
              <a:ext uri="{FF2B5EF4-FFF2-40B4-BE49-F238E27FC236}">
                <a16:creationId xmlns:a16="http://schemas.microsoft.com/office/drawing/2014/main" id="{384BECF5-53E0-4E37-A2FD-4FADC16ED0E7}"/>
              </a:ext>
            </a:extLst>
          </p:cNvPr>
          <p:cNvGrpSpPr/>
          <p:nvPr/>
        </p:nvGrpSpPr>
        <p:grpSpPr>
          <a:xfrm>
            <a:off x="1094575" y="1023520"/>
            <a:ext cx="531586" cy="773087"/>
            <a:chOff x="2454442" y="-2952785"/>
            <a:chExt cx="1732547" cy="2519648"/>
          </a:xfrm>
        </p:grpSpPr>
        <p:sp>
          <p:nvSpPr>
            <p:cNvPr id="4" name="Ovaal 3">
              <a:extLst>
                <a:ext uri="{FF2B5EF4-FFF2-40B4-BE49-F238E27FC236}">
                  <a16:creationId xmlns:a16="http://schemas.microsoft.com/office/drawing/2014/main" id="{1FD1A683-AC9F-4D9B-911F-D563439442EA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B0E219F1-4B1E-4B96-B178-3A95476D3A3F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9" name="Groep 8">
            <a:extLst>
              <a:ext uri="{FF2B5EF4-FFF2-40B4-BE49-F238E27FC236}">
                <a16:creationId xmlns:a16="http://schemas.microsoft.com/office/drawing/2014/main" id="{60CFD971-2A05-45CC-A0AB-0444E44BF3B9}"/>
              </a:ext>
            </a:extLst>
          </p:cNvPr>
          <p:cNvGrpSpPr/>
          <p:nvPr/>
        </p:nvGrpSpPr>
        <p:grpSpPr>
          <a:xfrm>
            <a:off x="1690733" y="1023520"/>
            <a:ext cx="531586" cy="773087"/>
            <a:chOff x="2454442" y="-2952785"/>
            <a:chExt cx="1732547" cy="2519648"/>
          </a:xfrm>
        </p:grpSpPr>
        <p:sp>
          <p:nvSpPr>
            <p:cNvPr id="11" name="Ovaal 10">
              <a:extLst>
                <a:ext uri="{FF2B5EF4-FFF2-40B4-BE49-F238E27FC236}">
                  <a16:creationId xmlns:a16="http://schemas.microsoft.com/office/drawing/2014/main" id="{B69F4864-4BF5-4942-979C-BB35A3A6E6CE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D62331D1-0A42-401C-9504-E8CAD678C004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19" name="Groep 18">
            <a:extLst>
              <a:ext uri="{FF2B5EF4-FFF2-40B4-BE49-F238E27FC236}">
                <a16:creationId xmlns:a16="http://schemas.microsoft.com/office/drawing/2014/main" id="{16FDBB5D-B5ED-426A-9A8F-1B88526E57AF}"/>
              </a:ext>
            </a:extLst>
          </p:cNvPr>
          <p:cNvGrpSpPr/>
          <p:nvPr/>
        </p:nvGrpSpPr>
        <p:grpSpPr>
          <a:xfrm rot="10800000">
            <a:off x="9969681" y="5101560"/>
            <a:ext cx="531586" cy="773087"/>
            <a:chOff x="2454442" y="-2952785"/>
            <a:chExt cx="1732547" cy="2519648"/>
          </a:xfrm>
        </p:grpSpPr>
        <p:sp>
          <p:nvSpPr>
            <p:cNvPr id="20" name="Ovaal 19">
              <a:extLst>
                <a:ext uri="{FF2B5EF4-FFF2-40B4-BE49-F238E27FC236}">
                  <a16:creationId xmlns:a16="http://schemas.microsoft.com/office/drawing/2014/main" id="{835B65F9-201C-4194-8AD5-08E04775D194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1" name="Rechthoek 20">
              <a:extLst>
                <a:ext uri="{FF2B5EF4-FFF2-40B4-BE49-F238E27FC236}">
                  <a16:creationId xmlns:a16="http://schemas.microsoft.com/office/drawing/2014/main" id="{558631D9-427E-4740-8713-DB7F718CE615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22" name="Groep 21">
            <a:extLst>
              <a:ext uri="{FF2B5EF4-FFF2-40B4-BE49-F238E27FC236}">
                <a16:creationId xmlns:a16="http://schemas.microsoft.com/office/drawing/2014/main" id="{3B7D35E9-F615-4E7F-BEAF-23F733506A1A}"/>
              </a:ext>
            </a:extLst>
          </p:cNvPr>
          <p:cNvGrpSpPr/>
          <p:nvPr/>
        </p:nvGrpSpPr>
        <p:grpSpPr>
          <a:xfrm rot="10800000">
            <a:off x="10565839" y="5101560"/>
            <a:ext cx="531586" cy="773087"/>
            <a:chOff x="2454442" y="-2952785"/>
            <a:chExt cx="1732547" cy="2519648"/>
          </a:xfrm>
        </p:grpSpPr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C504B5E6-19FB-4DC9-9A16-DB90184C8556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06B985C3-453D-47A3-AA54-361E2653BCAE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6399874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4" name="Tijdelijke aanduiding voor voettekst 33">
            <a:extLst>
              <a:ext uri="{FF2B5EF4-FFF2-40B4-BE49-F238E27FC236}">
                <a16:creationId xmlns:a16="http://schemas.microsoft.com/office/drawing/2014/main" id="{5DDF9C03-4951-4166-A8F6-3E70A70AF3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35" name="Tijdelijke aanduiding voor dianummer 34">
            <a:extLst>
              <a:ext uri="{FF2B5EF4-FFF2-40B4-BE49-F238E27FC236}">
                <a16:creationId xmlns:a16="http://schemas.microsoft.com/office/drawing/2014/main" id="{77DDBD2A-AEC8-484D-BEA1-859A95B283D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B8DDC52-3C64-406E-BCE8-D7C430F2E0B7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5944712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W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89274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25D3B4E-A54E-457D-8993-34E4AD67B23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B8DDC52-3C64-406E-BCE8-D7C430F2E0B7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3331029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3225AFBF-F52A-49C8-B0CD-DF61A26CB1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5005" y="1473072"/>
            <a:ext cx="9901989" cy="508871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B8DDC52-3C64-406E-BCE8-D7C430F2E0B7}" type="slidenum">
              <a:rPr lang="nl-BE" smtClean="0"/>
              <a:t>‹#›</a:t>
            </a:fld>
            <a:endParaRPr lang="nl-BE"/>
          </a:p>
        </p:txBody>
      </p:sp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116720" y="1676350"/>
            <a:ext cx="7953712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59084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B8DDC52-3C64-406E-BCE8-D7C430F2E0B7}" type="slidenum">
              <a:rPr lang="nl-BE" smtClean="0"/>
              <a:t>‹#›</a:t>
            </a:fld>
            <a:endParaRPr lang="nl-BE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C7F96CD-2764-450F-AA30-67B24BB8745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8673"/>
          <a:stretch/>
        </p:blipFill>
        <p:spPr>
          <a:xfrm>
            <a:off x="0" y="1489416"/>
            <a:ext cx="6420704" cy="5087798"/>
          </a:xfrm>
          <a:prstGeom prst="rect">
            <a:avLst/>
          </a:prstGeom>
        </p:spPr>
      </p:pic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689325"/>
            <a:ext cx="5418636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C975905F-291D-41F4-9D20-E9836EEEE5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457011"/>
            <a:ext cx="5257800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16022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hoek 8">
            <a:extLst>
              <a:ext uri="{FF2B5EF4-FFF2-40B4-BE49-F238E27FC236}">
                <a16:creationId xmlns:a16="http://schemas.microsoft.com/office/drawing/2014/main" id="{97A6CC3C-00A7-481A-8B6F-8235AD2C90F4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B8DDC52-3C64-406E-BCE8-D7C430F2E0B7}" type="slidenum">
              <a:rPr lang="nl-BE" smtClean="0"/>
              <a:t>‹#›</a:t>
            </a:fld>
            <a:endParaRPr lang="nl-BE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853F8D9-64D3-450A-AC91-52966B910B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3737284" y="588008"/>
            <a:ext cx="4717431" cy="6858000"/>
          </a:xfrm>
          <a:prstGeom prst="rect">
            <a:avLst/>
          </a:prstGeom>
        </p:spPr>
      </p:pic>
      <p:sp>
        <p:nvSpPr>
          <p:cNvPr id="10" name="Tijdelijke aanduiding voor afbeelding 7">
            <a:extLst>
              <a:ext uri="{FF2B5EF4-FFF2-40B4-BE49-F238E27FC236}">
                <a16:creationId xmlns:a16="http://schemas.microsoft.com/office/drawing/2014/main" id="{3B70AD41-2802-48D5-9D0D-573AD63EBDB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821073" y="1852863"/>
            <a:ext cx="6551528" cy="4331553"/>
          </a:xfrm>
          <a:prstGeom prst="roundRect">
            <a:avLst>
              <a:gd name="adj" fmla="val 8612"/>
            </a:avLst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6224855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jdelijke aanduiding voor inhoud 2">
            <a:extLst>
              <a:ext uri="{FF2B5EF4-FFF2-40B4-BE49-F238E27FC236}">
                <a16:creationId xmlns:a16="http://schemas.microsoft.com/office/drawing/2014/main" id="{49B3BEF7-3220-4C7E-A8E8-F0E0AEDAECD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83569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6702665-F588-4708-9642-2BE1BD30BF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38C7D42-B46F-43A2-B25F-3194F2371A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8DDC52-3C64-406E-BCE8-D7C430F2E0B7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79931358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FB8DDC52-3C64-406E-BCE8-D7C430F2E0B7}" type="slidenum">
              <a:rPr lang="nl-BE" smtClean="0"/>
              <a:t>‹#›</a:t>
            </a:fld>
            <a:endParaRPr lang="nl-BE"/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6B1E8691-7399-49D0-9AE6-FB4346EE2A3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80646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EBC2D348-238B-4490-BD89-4C2A5A6B5907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 rot="5400000">
            <a:off x="638281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1052877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FB8DDC52-3C64-406E-BCE8-D7C430F2E0B7}" type="slidenum">
              <a:rPr lang="nl-BE" smtClean="0"/>
              <a:t>‹#›</a:t>
            </a:fld>
            <a:endParaRPr lang="nl-BE"/>
          </a:p>
        </p:txBody>
      </p:sp>
      <p:sp>
        <p:nvSpPr>
          <p:cNvPr id="47" name="Tijdelijke aanduiding voor tekst 3">
            <a:extLst>
              <a:ext uri="{FF2B5EF4-FFF2-40B4-BE49-F238E27FC236}">
                <a16:creationId xmlns:a16="http://schemas.microsoft.com/office/drawing/2014/main" id="{1DF1C92D-FD08-4482-8F41-EA3FC515818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38200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48" name="Tijdelijke aanduiding voor afbeelding 14">
            <a:extLst>
              <a:ext uri="{FF2B5EF4-FFF2-40B4-BE49-F238E27FC236}">
                <a16:creationId xmlns:a16="http://schemas.microsoft.com/office/drawing/2014/main" id="{C17446A0-1544-44A5-8E99-2C973E21CD02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2084802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49" name="Tijdelijke aanduiding voor tekst 3">
            <a:extLst>
              <a:ext uri="{FF2B5EF4-FFF2-40B4-BE49-F238E27FC236}">
                <a16:creationId xmlns:a16="http://schemas.microsoft.com/office/drawing/2014/main" id="{FC38250E-3176-4A8F-B2CE-EF88457E075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402613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0" name="Tijdelijke aanduiding voor afbeelding 14">
            <a:extLst>
              <a:ext uri="{FF2B5EF4-FFF2-40B4-BE49-F238E27FC236}">
                <a16:creationId xmlns:a16="http://schemas.microsoft.com/office/drawing/2014/main" id="{6435E2B5-9F52-480C-BE4F-71B56CE519B4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649215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1" name="Tijdelijke aanduiding voor tekst 3">
            <a:extLst>
              <a:ext uri="{FF2B5EF4-FFF2-40B4-BE49-F238E27FC236}">
                <a16:creationId xmlns:a16="http://schemas.microsoft.com/office/drawing/2014/main" id="{A76D1AFA-BF19-4037-A5E5-B65C31B7AC5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967026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2" name="Tijdelijke aanduiding voor afbeelding 14">
            <a:extLst>
              <a:ext uri="{FF2B5EF4-FFF2-40B4-BE49-F238E27FC236}">
                <a16:creationId xmlns:a16="http://schemas.microsoft.com/office/drawing/2014/main" id="{53CC7C3C-032E-43BD-BB3C-D74EE2737788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9213628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800F98BF-369C-4277-8D9A-303DBB03CB0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048329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ijdelijke aanduiding voor tekst 6">
            <a:extLst>
              <a:ext uri="{FF2B5EF4-FFF2-40B4-BE49-F238E27FC236}">
                <a16:creationId xmlns:a16="http://schemas.microsoft.com/office/drawing/2014/main" id="{6BCDBB89-288D-4C7B-A937-F4AFF9D21F3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 rot="5400000">
            <a:off x="5597444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ijdelijke aanduiding voor tekst 6">
            <a:extLst>
              <a:ext uri="{FF2B5EF4-FFF2-40B4-BE49-F238E27FC236}">
                <a16:creationId xmlns:a16="http://schemas.microsoft.com/office/drawing/2014/main" id="{60BE33B4-DA0A-48B0-A7F8-49064C4383DF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38200" y="3715100"/>
            <a:ext cx="10548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80999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750"/>
                            </p:stCondLst>
                            <p:childTnLst>
                              <p:par>
                                <p:cTn id="18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500"/>
                            </p:stCondLst>
                            <p:childTnLst>
                              <p:par>
                                <p:cTn id="31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250"/>
                            </p:stCondLst>
                            <p:childTnLst>
                              <p:par>
                                <p:cTn id="44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000"/>
                            </p:stCondLst>
                            <p:childTnLst>
                              <p:par>
                                <p:cTn id="57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3750"/>
                            </p:stCondLst>
                            <p:childTnLst>
                              <p:par>
                                <p:cTn id="70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" grpId="1" animBg="1"/>
      <p:bldP spid="16" grpId="0"/>
      <p:bldP spid="1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" grpId="1" animBg="1"/>
      <p:bldP spid="18" grpId="0"/>
      <p:bldP spid="1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9" grpId="1" animBg="1"/>
      <p:bldP spid="20" grpId="0"/>
      <p:bldP spid="4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7" grpId="1" animBg="1"/>
      <p:bldP spid="48" grpId="0"/>
      <p:bldP spid="4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9" grpId="1" animBg="1"/>
      <p:bldP spid="50" grpId="0"/>
      <p:bldP spid="51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1" grpId="1" animBg="1"/>
      <p:bldP spid="52" grpId="0"/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3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0239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79613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68988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9" name="Tijdelijke aanduiding voor SmartArt 8">
            <a:extLst>
              <a:ext uri="{FF2B5EF4-FFF2-40B4-BE49-F238E27FC236}">
                <a16:creationId xmlns:a16="http://schemas.microsoft.com/office/drawing/2014/main" id="{7EA68BE6-457C-44F1-BBED-89A509124CD4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890588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20231F53-AF66-41C3-ABB3-C7460725331E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4779613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3C023902-C8F0-4389-87F8-8863FE2847C9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8668639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5FF061F-973B-46E1-9F05-CF9B8C9506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AEF46BFE-CDE3-4642-BA02-792065288893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88A1D2B-F104-45FD-AA41-6BCC37C2B0C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FB8DDC52-3C64-406E-BCE8-D7C430F2E0B7}" type="slidenum">
              <a:rPr lang="nl-BE" smtClean="0"/>
              <a:t>‹#›</a:t>
            </a:fld>
            <a:endParaRPr lang="nl-BE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AC99B72F-0E3D-4DC7-AB27-B4A6D5F7EE6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02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2FDC2CED-B505-4674-B170-D2D189C039A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79613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381B417B-E310-4277-947B-72D4B362309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6686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12212150"/>
      </p:ext>
    </p:extLst>
  </p:cSld>
  <p:clrMapOvr>
    <a:masterClrMapping/>
  </p:clrMapOvr>
  <p:transition spd="slow">
    <p:cover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4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223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97461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3699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14" name="Tijdelijke aanduiding voor tekst 5">
            <a:extLst>
              <a:ext uri="{FF2B5EF4-FFF2-40B4-BE49-F238E27FC236}">
                <a16:creationId xmlns:a16="http://schemas.microsoft.com/office/drawing/2014/main" id="{441213FE-5658-4442-A2B2-CC99883698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29936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4 toe te voegen</a:t>
            </a:r>
            <a:endParaRPr lang="en-BE" dirty="0"/>
          </a:p>
        </p:txBody>
      </p:sp>
      <p:sp>
        <p:nvSpPr>
          <p:cNvPr id="25" name="Tijdelijke aanduiding voor SmartArt 8">
            <a:extLst>
              <a:ext uri="{FF2B5EF4-FFF2-40B4-BE49-F238E27FC236}">
                <a16:creationId xmlns:a16="http://schemas.microsoft.com/office/drawing/2014/main" id="{77A7708E-4C93-416F-B577-F344F26B89FE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481223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90301D7C-51EF-4D1C-B3D1-362270B1ADEB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3397461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7B0608B4-8F8C-46DB-BC9C-8A2835A6941F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6313697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8" name="Tijdelijke aanduiding voor SmartArt 8">
            <a:extLst>
              <a:ext uri="{FF2B5EF4-FFF2-40B4-BE49-F238E27FC236}">
                <a16:creationId xmlns:a16="http://schemas.microsoft.com/office/drawing/2014/main" id="{FF6B0AA1-8DA3-4E64-83FE-C8BB46931189}"/>
              </a:ext>
            </a:extLst>
          </p:cNvPr>
          <p:cNvSpPr>
            <a:spLocks noGrp="1"/>
          </p:cNvSpPr>
          <p:nvPr>
            <p:ph type="dgm" sz="quarter" idx="21" hasCustomPrompt="1"/>
          </p:nvPr>
        </p:nvSpPr>
        <p:spPr>
          <a:xfrm>
            <a:off x="9229935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4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75DF763-B9D1-4272-995B-47A53DE558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D23F9B26-12F3-4A17-9E26-E105CEB657DA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DA149E6-758D-4404-8B20-0C8C2C32DA80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FB8DDC52-3C64-406E-BCE8-D7C430F2E0B7}" type="slidenum">
              <a:rPr lang="nl-BE" smtClean="0"/>
              <a:t>‹#›</a:t>
            </a:fld>
            <a:endParaRPr lang="nl-BE"/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58820E1A-3786-4CAD-B96A-1BC760EF6E3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1223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7BE5CD57-BE93-483F-B226-F026848287D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397461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>
            <a:extLst>
              <a:ext uri="{FF2B5EF4-FFF2-40B4-BE49-F238E27FC236}">
                <a16:creationId xmlns:a16="http://schemas.microsoft.com/office/drawing/2014/main" id="{3E82F6D0-80D6-4BC6-B583-C40D971A2BC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3697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ijdelijke aanduiding voor tekst 6">
            <a:extLst>
              <a:ext uri="{FF2B5EF4-FFF2-40B4-BE49-F238E27FC236}">
                <a16:creationId xmlns:a16="http://schemas.microsoft.com/office/drawing/2014/main" id="{458AAC12-4F15-4C93-B6B0-8713A40D12A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228036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287101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/>
      <p:bldP spid="26" grpId="0"/>
      <p:bldP spid="27" grpId="0"/>
      <p:bldP spid="28" grpId="0"/>
    </p:bldLst>
  </p:timing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jdelijke aanduiding voor afbeelding 20">
            <a:extLst>
              <a:ext uri="{FF2B5EF4-FFF2-40B4-BE49-F238E27FC236}">
                <a16:creationId xmlns:a16="http://schemas.microsoft.com/office/drawing/2014/main" id="{564B005D-026A-4009-A1C9-F060099E946C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880886" y="620268"/>
            <a:ext cx="5311115" cy="6237732"/>
          </a:xfrm>
          <a:custGeom>
            <a:avLst/>
            <a:gdLst>
              <a:gd name="connsiteX0" fmla="*/ 3479059 w 5311115"/>
              <a:gd name="connsiteY0" fmla="*/ 1657322 h 6237732"/>
              <a:gd name="connsiteX1" fmla="*/ 1657222 w 5311115"/>
              <a:gd name="connsiteY1" fmla="*/ 3479060 h 6237732"/>
              <a:gd name="connsiteX2" fmla="*/ 3479059 w 5311115"/>
              <a:gd name="connsiteY2" fmla="*/ 5300698 h 6237732"/>
              <a:gd name="connsiteX3" fmla="*/ 3479059 w 5311115"/>
              <a:gd name="connsiteY3" fmla="*/ 5300797 h 6237732"/>
              <a:gd name="connsiteX4" fmla="*/ 5300997 w 5311115"/>
              <a:gd name="connsiteY4" fmla="*/ 3479160 h 6237732"/>
              <a:gd name="connsiteX5" fmla="*/ 3479059 w 5311115"/>
              <a:gd name="connsiteY5" fmla="*/ 1657322 h 6237732"/>
              <a:gd name="connsiteX6" fmla="*/ 3479059 w 5311115"/>
              <a:gd name="connsiteY6" fmla="*/ 0 h 6237732"/>
              <a:gd name="connsiteX7" fmla="*/ 5137377 w 5311115"/>
              <a:gd name="connsiteY7" fmla="*/ 419837 h 6237732"/>
              <a:gd name="connsiteX8" fmla="*/ 5311115 w 5311115"/>
              <a:gd name="connsiteY8" fmla="*/ 525376 h 6237732"/>
              <a:gd name="connsiteX9" fmla="*/ 5311115 w 5311115"/>
              <a:gd name="connsiteY9" fmla="*/ 6237732 h 6237732"/>
              <a:gd name="connsiteX10" fmla="*/ 1365066 w 5311115"/>
              <a:gd name="connsiteY10" fmla="*/ 6237732 h 6237732"/>
              <a:gd name="connsiteX11" fmla="*/ 1265958 w 5311115"/>
              <a:gd name="connsiteY11" fmla="*/ 6163623 h 6237732"/>
              <a:gd name="connsiteX12" fmla="*/ 0 w 5311115"/>
              <a:gd name="connsiteY12" fmla="*/ 3479060 h 6237732"/>
              <a:gd name="connsiteX13" fmla="*/ 3479059 w 5311115"/>
              <a:gd name="connsiteY13" fmla="*/ 0 h 6237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311115" h="6237732">
                <a:moveTo>
                  <a:pt x="3479059" y="1657322"/>
                </a:moveTo>
                <a:cubicBezTo>
                  <a:pt x="2473306" y="1657322"/>
                  <a:pt x="1657222" y="2473006"/>
                  <a:pt x="1657222" y="3479060"/>
                </a:cubicBezTo>
                <a:cubicBezTo>
                  <a:pt x="1657222" y="4485113"/>
                  <a:pt x="2472907" y="5300698"/>
                  <a:pt x="3479059" y="5300698"/>
                </a:cubicBezTo>
                <a:lnTo>
                  <a:pt x="3479059" y="5300797"/>
                </a:lnTo>
                <a:cubicBezTo>
                  <a:pt x="4484813" y="5300797"/>
                  <a:pt x="5300997" y="4485313"/>
                  <a:pt x="5300997" y="3479160"/>
                </a:cubicBezTo>
                <a:cubicBezTo>
                  <a:pt x="5300997" y="2473006"/>
                  <a:pt x="4484813" y="1657322"/>
                  <a:pt x="3479059" y="1657322"/>
                </a:cubicBezTo>
                <a:close/>
                <a:moveTo>
                  <a:pt x="3479059" y="0"/>
                </a:moveTo>
                <a:cubicBezTo>
                  <a:pt x="4079517" y="0"/>
                  <a:pt x="4644430" y="152080"/>
                  <a:pt x="5137377" y="419837"/>
                </a:cubicBezTo>
                <a:lnTo>
                  <a:pt x="5311115" y="525376"/>
                </a:lnTo>
                <a:lnTo>
                  <a:pt x="5311115" y="6237732"/>
                </a:lnTo>
                <a:lnTo>
                  <a:pt x="1365066" y="6237732"/>
                </a:lnTo>
                <a:lnTo>
                  <a:pt x="1265958" y="6163623"/>
                </a:lnTo>
                <a:cubicBezTo>
                  <a:pt x="492770" y="5525546"/>
                  <a:pt x="0" y="4559884"/>
                  <a:pt x="0" y="3479060"/>
                </a:cubicBezTo>
                <a:cubicBezTo>
                  <a:pt x="0" y="1557596"/>
                  <a:pt x="1557495" y="0"/>
                  <a:pt x="347905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t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FB8DDC52-3C64-406E-BCE8-D7C430F2E0B7}" type="slidenum">
              <a:rPr lang="nl-BE" smtClean="0"/>
              <a:t>‹#›</a:t>
            </a:fld>
            <a:endParaRPr lang="nl-BE"/>
          </a:p>
        </p:txBody>
      </p:sp>
      <p:sp>
        <p:nvSpPr>
          <p:cNvPr id="47" name="Tijdelijke aanduiding voor inhoud 2">
            <a:extLst>
              <a:ext uri="{FF2B5EF4-FFF2-40B4-BE49-F238E27FC236}">
                <a16:creationId xmlns:a16="http://schemas.microsoft.com/office/drawing/2014/main" id="{A289276E-6A72-4766-8D3D-3BC956E894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558929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71753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_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820176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0F41E96E-9C38-4D23-B21C-C859623D0E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54502" y="0"/>
            <a:ext cx="6737498" cy="6858000"/>
          </a:xfrm>
          <a:custGeom>
            <a:avLst/>
            <a:gdLst>
              <a:gd name="connsiteX0" fmla="*/ 3974805 w 6737498"/>
              <a:gd name="connsiteY0" fmla="*/ 0 h 6858000"/>
              <a:gd name="connsiteX1" fmla="*/ 6503150 w 6737498"/>
              <a:gd name="connsiteY1" fmla="*/ 907326 h 6858000"/>
              <a:gd name="connsiteX2" fmla="*/ 6737498 w 6737498"/>
              <a:gd name="connsiteY2" fmla="*/ 1120239 h 6858000"/>
              <a:gd name="connsiteX3" fmla="*/ 6737498 w 6737498"/>
              <a:gd name="connsiteY3" fmla="*/ 6826511 h 6858000"/>
              <a:gd name="connsiteX4" fmla="*/ 6702839 w 6737498"/>
              <a:gd name="connsiteY4" fmla="*/ 6858000 h 6858000"/>
              <a:gd name="connsiteX5" fmla="*/ 1246772 w 6737498"/>
              <a:gd name="connsiteY5" fmla="*/ 6858000 h 6858000"/>
              <a:gd name="connsiteX6" fmla="*/ 1164194 w 6737498"/>
              <a:gd name="connsiteY6" fmla="*/ 6782976 h 6858000"/>
              <a:gd name="connsiteX7" fmla="*/ 0 w 6737498"/>
              <a:gd name="connsiteY7" fmla="*/ 3973375 h 6858000"/>
              <a:gd name="connsiteX8" fmla="*/ 3974805 w 6737498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7498" h="6858000">
                <a:moveTo>
                  <a:pt x="3974805" y="0"/>
                </a:moveTo>
                <a:cubicBezTo>
                  <a:pt x="4935216" y="0"/>
                  <a:pt x="5816069" y="340501"/>
                  <a:pt x="6503150" y="907326"/>
                </a:cubicBezTo>
                <a:lnTo>
                  <a:pt x="6737498" y="1120239"/>
                </a:lnTo>
                <a:lnTo>
                  <a:pt x="6737498" y="6826511"/>
                </a:lnTo>
                <a:lnTo>
                  <a:pt x="6702839" y="6858000"/>
                </a:lnTo>
                <a:lnTo>
                  <a:pt x="1246772" y="6858000"/>
                </a:lnTo>
                <a:lnTo>
                  <a:pt x="1164194" y="6782976"/>
                </a:lnTo>
                <a:cubicBezTo>
                  <a:pt x="444896" y="6063936"/>
                  <a:pt x="0" y="5070592"/>
                  <a:pt x="0" y="3973375"/>
                </a:cubicBezTo>
                <a:cubicBezTo>
                  <a:pt x="0" y="1778941"/>
                  <a:pt x="1779581" y="0"/>
                  <a:pt x="3974805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Tijdelijke aanduiding voor inhoud 2">
            <a:extLst>
              <a:ext uri="{FF2B5EF4-FFF2-40B4-BE49-F238E27FC236}">
                <a16:creationId xmlns:a16="http://schemas.microsoft.com/office/drawing/2014/main" id="{E71A256E-2C27-4C14-9B49-1AA51FCFAF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457011"/>
            <a:ext cx="4477377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E5C2C65A-2658-4560-A6BE-86CB6EDD6AFB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F62A4FBC-8872-485A-A7BD-85401237E3D4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7AA57C24-9FB9-467D-AF59-4E9D256E6FA2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8" name="Groep 7">
            <a:extLst>
              <a:ext uri="{FF2B5EF4-FFF2-40B4-BE49-F238E27FC236}">
                <a16:creationId xmlns:a16="http://schemas.microsoft.com/office/drawing/2014/main" id="{71F4A9A2-703C-4C76-9C73-18B866404F1E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46EFB43F-30C6-44C2-9898-82EB22841CA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" name="Gelijkbenige driehoek 128">
              <a:extLst>
                <a:ext uri="{FF2B5EF4-FFF2-40B4-BE49-F238E27FC236}">
                  <a16:creationId xmlns:a16="http://schemas.microsoft.com/office/drawing/2014/main" id="{415C6E54-6AF1-4BF2-9BA8-26E0725050F7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3" name="Ovaal 12">
              <a:extLst>
                <a:ext uri="{FF2B5EF4-FFF2-40B4-BE49-F238E27FC236}">
                  <a16:creationId xmlns:a16="http://schemas.microsoft.com/office/drawing/2014/main" id="{BCE79456-4827-427E-9158-03DAD897BED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4E7C3B5D-2B57-4C75-B2E9-2B87C4AABC36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AB937567-3D0A-4DF2-A7D2-29E70B21EB16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0E4A9D28-47D5-4922-ABA9-D10A4926236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1165B6BD-DD72-48BF-BE51-39C303B2B996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B00BC30B-C7D5-4C82-AD3A-F1B2CFE7B59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6C27C000-5449-4AD2-8563-3CD67B4FC766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5EAD29E0-D525-4D9F-8587-1517F9A8990D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84511C47-EDB9-4724-96C6-A32B1B8CD9F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FE8A6093-9236-4BBF-8701-52BD2D2FC632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ABC9A642-744E-4237-B834-8AB17A6919B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B73B35C3-CE5E-40D7-9F78-9DAF625341E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1C089379-583F-43EA-A359-DDD8F55C9DFE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5DCE39B3-1A99-4F03-ABFA-22EBB8A0967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BAC4910C-84C1-4BB3-8831-DBFA6FD6086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1BE4CDBD-2504-44B8-9FCA-349AB1C69BE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5C081608-A395-4D09-BD8A-A5D1FE08FAA6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616F45F6-8117-43FA-ABA5-A5F8D7D246A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688D5F99-9556-4C11-91BD-7828AAC4020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83084F6-9F19-4077-B505-8884B99ECE3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A88431EE-3377-45FC-9D1C-476FE6BB3B8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3490FF61-C896-4BCE-B5CF-96697B3FFCC8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039872A1-708A-4730-8DF5-AA21CE06830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13A8F42-6A68-43AB-AD02-AE8A032803D0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9F0F24F8-12A0-4728-9BFE-0E3FE5212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93BCCB-95E3-4A85-B3C6-4FB0A6BDA7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8DDC52-3C64-406E-BCE8-D7C430F2E0B7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991091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mag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ijdelijke aanduiding voor afbeelding 57">
            <a:extLst>
              <a:ext uri="{FF2B5EF4-FFF2-40B4-BE49-F238E27FC236}">
                <a16:creationId xmlns:a16="http://schemas.microsoft.com/office/drawing/2014/main" id="{D48DE010-1A0C-4166-971F-D5EDDE6E736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79455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9" name="Tijdelijke aanduiding voor afbeelding 57">
            <a:extLst>
              <a:ext uri="{FF2B5EF4-FFF2-40B4-BE49-F238E27FC236}">
                <a16:creationId xmlns:a16="http://schemas.microsoft.com/office/drawing/2014/main" id="{043CC465-FBD7-4104-8C4B-53064F78FF5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52071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Tijdelijke aanduiding voor afbeelding 57">
            <a:extLst>
              <a:ext uri="{FF2B5EF4-FFF2-40B4-BE49-F238E27FC236}">
                <a16:creationId xmlns:a16="http://schemas.microsoft.com/office/drawing/2014/main" id="{92C64300-3DFE-4ED3-B061-1086C51426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3820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9" name="Tijdelijke aanduiding voor afbeelding 57">
            <a:extLst>
              <a:ext uri="{FF2B5EF4-FFF2-40B4-BE49-F238E27FC236}">
                <a16:creationId xmlns:a16="http://schemas.microsoft.com/office/drawing/2014/main" id="{A2908ADB-146B-4FFC-940F-114478DBEDC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361964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inhoud 7">
            <a:extLst>
              <a:ext uri="{FF2B5EF4-FFF2-40B4-BE49-F238E27FC236}">
                <a16:creationId xmlns:a16="http://schemas.microsoft.com/office/drawing/2014/main" id="{361655FF-F737-47B0-AAB6-8D7FBC047C9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38200" y="4078288"/>
            <a:ext cx="10515600" cy="20864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4" name="任意形状 66">
            <a:extLst>
              <a:ext uri="{FF2B5EF4-FFF2-40B4-BE49-F238E27FC236}">
                <a16:creationId xmlns:a16="http://schemas.microsoft.com/office/drawing/2014/main" id="{AFED4D00-A44A-4ED7-97B8-E3F8231E6084}"/>
              </a:ext>
            </a:extLst>
          </p:cNvPr>
          <p:cNvSpPr/>
          <p:nvPr/>
        </p:nvSpPr>
        <p:spPr>
          <a:xfrm>
            <a:off x="310639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5" name="任意形状 66">
            <a:extLst>
              <a:ext uri="{FF2B5EF4-FFF2-40B4-BE49-F238E27FC236}">
                <a16:creationId xmlns:a16="http://schemas.microsoft.com/office/drawing/2014/main" id="{A322EFEA-BA3D-48DE-81DA-C9080DFC860C}"/>
              </a:ext>
            </a:extLst>
          </p:cNvPr>
          <p:cNvSpPr/>
          <p:nvPr/>
        </p:nvSpPr>
        <p:spPr>
          <a:xfrm>
            <a:off x="5947646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6" name="任意形状 66">
            <a:extLst>
              <a:ext uri="{FF2B5EF4-FFF2-40B4-BE49-F238E27FC236}">
                <a16:creationId xmlns:a16="http://schemas.microsoft.com/office/drawing/2014/main" id="{655922D4-3BD3-46CF-958B-856DF4C84B21}"/>
              </a:ext>
            </a:extLst>
          </p:cNvPr>
          <p:cNvSpPr/>
          <p:nvPr/>
        </p:nvSpPr>
        <p:spPr>
          <a:xfrm>
            <a:off x="878890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0F64BDDA-83F6-49F6-83E2-CA4C17924C92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" name="Rechte verbindingslijn 11">
            <a:extLst>
              <a:ext uri="{FF2B5EF4-FFF2-40B4-BE49-F238E27FC236}">
                <a16:creationId xmlns:a16="http://schemas.microsoft.com/office/drawing/2014/main" id="{ABAA067D-68DC-4D17-A232-E09CF41A5A7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3" name="Tekstvak 12">
            <a:extLst>
              <a:ext uri="{FF2B5EF4-FFF2-40B4-BE49-F238E27FC236}">
                <a16:creationId xmlns:a16="http://schemas.microsoft.com/office/drawing/2014/main" id="{9BB53258-6B15-4A3E-8076-B8CB9F1A76EE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4" name="Groep 13">
            <a:extLst>
              <a:ext uri="{FF2B5EF4-FFF2-40B4-BE49-F238E27FC236}">
                <a16:creationId xmlns:a16="http://schemas.microsoft.com/office/drawing/2014/main" id="{6524146B-70AA-4032-9964-3C5B0B31D1D1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62374F56-6622-4A31-A57F-57868348BAF3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6" name="Gelijkbenige driehoek 128">
              <a:extLst>
                <a:ext uri="{FF2B5EF4-FFF2-40B4-BE49-F238E27FC236}">
                  <a16:creationId xmlns:a16="http://schemas.microsoft.com/office/drawing/2014/main" id="{1AA46C18-1C28-4228-92B3-393252B482BA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7" name="Ovaal 16">
              <a:extLst>
                <a:ext uri="{FF2B5EF4-FFF2-40B4-BE49-F238E27FC236}">
                  <a16:creationId xmlns:a16="http://schemas.microsoft.com/office/drawing/2014/main" id="{B7D978C1-8ECF-42D9-8DAE-3382095D2B8D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8" name="Rechthoek 17">
              <a:extLst>
                <a:ext uri="{FF2B5EF4-FFF2-40B4-BE49-F238E27FC236}">
                  <a16:creationId xmlns:a16="http://schemas.microsoft.com/office/drawing/2014/main" id="{690E3B56-2C0C-4C5B-9189-8A263AD2B9D8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9" name="Rechte verbindingslijn 18">
              <a:extLst>
                <a:ext uri="{FF2B5EF4-FFF2-40B4-BE49-F238E27FC236}">
                  <a16:creationId xmlns:a16="http://schemas.microsoft.com/office/drawing/2014/main" id="{16812722-7EFC-46CA-A347-61B4E3C24478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0" name="Tekstvak 19">
            <a:extLst>
              <a:ext uri="{FF2B5EF4-FFF2-40B4-BE49-F238E27FC236}">
                <a16:creationId xmlns:a16="http://schemas.microsoft.com/office/drawing/2014/main" id="{315FB1F7-DFB7-427C-9170-33BAAFFA4F9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1" name="Tekstvak 20">
            <a:extLst>
              <a:ext uri="{FF2B5EF4-FFF2-40B4-BE49-F238E27FC236}">
                <a16:creationId xmlns:a16="http://schemas.microsoft.com/office/drawing/2014/main" id="{CE9F2863-3BCC-4783-8FAC-A850C593F715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2" name="Groep 21">
            <a:extLst>
              <a:ext uri="{FF2B5EF4-FFF2-40B4-BE49-F238E27FC236}">
                <a16:creationId xmlns:a16="http://schemas.microsoft.com/office/drawing/2014/main" id="{EF5C1873-2EA1-46C1-9B95-EA3E082D60E4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3" name="Rechthoek 22">
              <a:extLst>
                <a:ext uri="{FF2B5EF4-FFF2-40B4-BE49-F238E27FC236}">
                  <a16:creationId xmlns:a16="http://schemas.microsoft.com/office/drawing/2014/main" id="{214D8220-166C-4990-AF74-B7A5D85EFC44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4" name="Groep 23">
              <a:extLst>
                <a:ext uri="{FF2B5EF4-FFF2-40B4-BE49-F238E27FC236}">
                  <a16:creationId xmlns:a16="http://schemas.microsoft.com/office/drawing/2014/main" id="{70F5BEA0-CDF5-4567-BADE-DCEA92538944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011CCB6D-09D6-4FF2-B71E-C4F565DBC280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179A6272-710A-434A-AE75-6E0E5E49E057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1AB8BEB7-72F0-4BD5-AE59-595157BC7C4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C7A8E8EB-2657-49CF-A833-5D1ADDA5C370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307525DA-0B92-4588-83A7-5E55B60DDAB1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ACF55B21-7FC6-450D-B67F-19F4B577D5BA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2621F62B-189B-4101-902B-228D718CC106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5" name="Groep 24">
              <a:extLst>
                <a:ext uri="{FF2B5EF4-FFF2-40B4-BE49-F238E27FC236}">
                  <a16:creationId xmlns:a16="http://schemas.microsoft.com/office/drawing/2014/main" id="{FFB58F2F-A65B-43BF-8590-8F6BD1A6D93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8D8F4811-1508-4277-808B-8DB87BDE03B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D1D2CC7F-B5F6-452E-A62C-8C0C0B77D28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54A3C999-4B62-4BC8-82F7-5D137C6463C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EE721BE1-8E4D-49DA-9377-13B31FE84D78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44C3CEF0-4A60-4B88-B408-28CF105451B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57B8AB8-140B-45CD-9327-7A72D526F971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E4AFCDCA-C7EE-4B7C-8DF3-D100A12058D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4" name="Tekstvak 43">
            <a:extLst>
              <a:ext uri="{FF2B5EF4-FFF2-40B4-BE49-F238E27FC236}">
                <a16:creationId xmlns:a16="http://schemas.microsoft.com/office/drawing/2014/main" id="{273947A7-9254-4672-9759-A7EB91635602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E0F915DA-A1E8-4934-89C5-26A0771FE7B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B30C73B2-9DD4-41C9-AA89-1A9861D1BBA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B8DDC52-3C64-406E-BCE8-D7C430F2E0B7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0784806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51229" y="1391096"/>
            <a:ext cx="1817966" cy="2020312"/>
          </a:xfrm>
          <a:custGeom>
            <a:avLst/>
            <a:gdLst>
              <a:gd name="connsiteX0" fmla="*/ 1813421 w 1817966"/>
              <a:gd name="connsiteY0" fmla="*/ 1176110 h 2020312"/>
              <a:gd name="connsiteX1" fmla="*/ 1477616 w 1817966"/>
              <a:gd name="connsiteY1" fmla="*/ 1536180 h 2020312"/>
              <a:gd name="connsiteX2" fmla="*/ 1328519 w 1817966"/>
              <a:gd name="connsiteY2" fmla="*/ 2018701 h 2020312"/>
              <a:gd name="connsiteX3" fmla="*/ 686567 w 1817966"/>
              <a:gd name="connsiteY3" fmla="*/ 1788045 h 2020312"/>
              <a:gd name="connsiteX4" fmla="*/ -4321 w 1817966"/>
              <a:gd name="connsiteY4" fmla="*/ 2018701 h 2020312"/>
              <a:gd name="connsiteX5" fmla="*/ 1139608 w 1817966"/>
              <a:gd name="connsiteY5" fmla="*/ -1612 h 2020312"/>
              <a:gd name="connsiteX6" fmla="*/ 1813645 w 1817966"/>
              <a:gd name="connsiteY6" fmla="*/ 433232 h 2020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7966" h="2020312">
                <a:moveTo>
                  <a:pt x="1813421" y="1176110"/>
                </a:moveTo>
                <a:cubicBezTo>
                  <a:pt x="1676231" y="1269801"/>
                  <a:pt x="1561511" y="1392790"/>
                  <a:pt x="1477616" y="1536180"/>
                </a:cubicBezTo>
                <a:cubicBezTo>
                  <a:pt x="1391429" y="1683390"/>
                  <a:pt x="1340426" y="1848529"/>
                  <a:pt x="1328519" y="2018701"/>
                </a:cubicBezTo>
                <a:lnTo>
                  <a:pt x="686567" y="1788045"/>
                </a:lnTo>
                <a:lnTo>
                  <a:pt x="-4321" y="2018701"/>
                </a:lnTo>
                <a:cubicBezTo>
                  <a:pt x="20394" y="1197814"/>
                  <a:pt x="448407" y="441904"/>
                  <a:pt x="1139608" y="-1612"/>
                </a:cubicBezTo>
                <a:lnTo>
                  <a:pt x="1813645" y="433232"/>
                </a:lnTo>
                <a:close/>
              </a:path>
            </a:pathLst>
          </a:custGeom>
          <a:solidFill>
            <a:schemeClr val="accent6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5669569" y="1709799"/>
            <a:ext cx="2302779" cy="1475129"/>
          </a:xfrm>
          <a:custGeom>
            <a:avLst/>
            <a:gdLst>
              <a:gd name="connsiteX0" fmla="*/ 2298458 w 2302779"/>
              <a:gd name="connsiteY0" fmla="*/ 289326 h 1475129"/>
              <a:gd name="connsiteX1" fmla="*/ 2251679 w 2302779"/>
              <a:gd name="connsiteY1" fmla="*/ 1043078 h 1475129"/>
              <a:gd name="connsiteX2" fmla="*/ 1631971 w 2302779"/>
              <a:gd name="connsiteY2" fmla="*/ 1467722 h 1475129"/>
              <a:gd name="connsiteX3" fmla="*/ 1404462 w 2302779"/>
              <a:gd name="connsiteY3" fmla="*/ 1389443 h 1475129"/>
              <a:gd name="connsiteX4" fmla="*/ 903965 w 2302779"/>
              <a:gd name="connsiteY4" fmla="*/ 1390926 h 1475129"/>
              <a:gd name="connsiteX5" fmla="*/ 670299 w 2302779"/>
              <a:gd name="connsiteY5" fmla="*/ 1473518 h 1475129"/>
              <a:gd name="connsiteX6" fmla="*/ 694250 w 2302779"/>
              <a:gd name="connsiteY6" fmla="*/ 736032 h 1475129"/>
              <a:gd name="connsiteX7" fmla="*/ -4321 w 2302779"/>
              <a:gd name="connsiteY7" fmla="*/ 294583 h 1475129"/>
              <a:gd name="connsiteX8" fmla="*/ 2298278 w 2302779"/>
              <a:gd name="connsiteY8" fmla="*/ 289326 h 1475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02779" h="1475129">
                <a:moveTo>
                  <a:pt x="2298458" y="289326"/>
                </a:moveTo>
                <a:lnTo>
                  <a:pt x="2251679" y="1043078"/>
                </a:lnTo>
                <a:lnTo>
                  <a:pt x="1631971" y="1467722"/>
                </a:lnTo>
                <a:cubicBezTo>
                  <a:pt x="1559220" y="1433436"/>
                  <a:pt x="1482920" y="1407193"/>
                  <a:pt x="1404462" y="1389443"/>
                </a:cubicBezTo>
                <a:cubicBezTo>
                  <a:pt x="1239637" y="1352326"/>
                  <a:pt x="1068567" y="1352865"/>
                  <a:pt x="903965" y="1390926"/>
                </a:cubicBezTo>
                <a:cubicBezTo>
                  <a:pt x="823217" y="1409574"/>
                  <a:pt x="744849" y="1437300"/>
                  <a:pt x="670299" y="1473518"/>
                </a:cubicBezTo>
                <a:lnTo>
                  <a:pt x="694250" y="736032"/>
                </a:lnTo>
                <a:lnTo>
                  <a:pt x="-4321" y="294583"/>
                </a:lnTo>
                <a:cubicBezTo>
                  <a:pt x="712405" y="-98470"/>
                  <a:pt x="1579755" y="-100447"/>
                  <a:pt x="2298278" y="289326"/>
                </a:cubicBezTo>
                <a:close/>
              </a:path>
            </a:pathLst>
          </a:custGeom>
          <a:solidFill>
            <a:schemeClr val="accent3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981052" y="2655178"/>
            <a:ext cx="1819403" cy="2291724"/>
          </a:xfrm>
          <a:custGeom>
            <a:avLst/>
            <a:gdLst>
              <a:gd name="connsiteX0" fmla="*/ 1815082 w 1819403"/>
              <a:gd name="connsiteY0" fmla="*/ 2024992 h 2291724"/>
              <a:gd name="connsiteX1" fmla="*/ 1144146 w 1819403"/>
              <a:gd name="connsiteY1" fmla="*/ 2290113 h 2291724"/>
              <a:gd name="connsiteX2" fmla="*/ 492577 w 1819403"/>
              <a:gd name="connsiteY2" fmla="*/ 2025262 h 2291724"/>
              <a:gd name="connsiteX3" fmla="*/ 339795 w 1819403"/>
              <a:gd name="connsiteY3" fmla="*/ 1536405 h 2291724"/>
              <a:gd name="connsiteX4" fmla="*/ -4321 w 1819403"/>
              <a:gd name="connsiteY4" fmla="*/ 1174447 h 2291724"/>
              <a:gd name="connsiteX5" fmla="*/ 575081 w 1819403"/>
              <a:gd name="connsiteY5" fmla="*/ 813568 h 2291724"/>
              <a:gd name="connsiteX6" fmla="*/ 660862 w 1819403"/>
              <a:gd name="connsiteY6" fmla="*/ -1612 h 2291724"/>
              <a:gd name="connsiteX7" fmla="*/ 1815082 w 1819403"/>
              <a:gd name="connsiteY7" fmla="*/ 2024992 h 2291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19403" h="2291724">
                <a:moveTo>
                  <a:pt x="1815082" y="2024992"/>
                </a:moveTo>
                <a:lnTo>
                  <a:pt x="1144146" y="2290113"/>
                </a:lnTo>
                <a:lnTo>
                  <a:pt x="492577" y="2025262"/>
                </a:lnTo>
                <a:cubicBezTo>
                  <a:pt x="480489" y="1852618"/>
                  <a:pt x="428186" y="1685187"/>
                  <a:pt x="339795" y="1536405"/>
                </a:cubicBezTo>
                <a:cubicBezTo>
                  <a:pt x="253744" y="1391442"/>
                  <a:pt x="136103" y="1267734"/>
                  <a:pt x="-4321" y="1174447"/>
                </a:cubicBezTo>
                <a:lnTo>
                  <a:pt x="575081" y="813568"/>
                </a:lnTo>
                <a:lnTo>
                  <a:pt x="660862" y="-1612"/>
                </a:lnTo>
                <a:cubicBezTo>
                  <a:pt x="1357997" y="440601"/>
                  <a:pt x="1790368" y="1199791"/>
                  <a:pt x="1815082" y="2024992"/>
                </a:cubicBezTo>
                <a:close/>
              </a:path>
            </a:pathLst>
          </a:custGeom>
          <a:solidFill>
            <a:schemeClr val="accent1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124564" y="4658708"/>
            <a:ext cx="1815989" cy="2020358"/>
          </a:xfrm>
          <a:custGeom>
            <a:avLst/>
            <a:gdLst>
              <a:gd name="connsiteX0" fmla="*/ 1811668 w 1815989"/>
              <a:gd name="connsiteY0" fmla="*/ -1567 h 2020358"/>
              <a:gd name="connsiteX1" fmla="*/ 667379 w 1815989"/>
              <a:gd name="connsiteY1" fmla="*/ 2018746 h 2020358"/>
              <a:gd name="connsiteX2" fmla="*/ 96425 w 1815989"/>
              <a:gd name="connsiteY2" fmla="*/ 1541574 h 2020358"/>
              <a:gd name="connsiteX3" fmla="*/ -4321 w 1815989"/>
              <a:gd name="connsiteY3" fmla="*/ 844799 h 2020358"/>
              <a:gd name="connsiteX4" fmla="*/ 336877 w 1815989"/>
              <a:gd name="connsiteY4" fmla="*/ 484144 h 2020358"/>
              <a:gd name="connsiteX5" fmla="*/ 488805 w 1815989"/>
              <a:gd name="connsiteY5" fmla="*/ -1612 h 2020358"/>
              <a:gd name="connsiteX6" fmla="*/ 1127297 w 1815989"/>
              <a:gd name="connsiteY6" fmla="*/ 251647 h 2020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5989" h="2020358">
                <a:moveTo>
                  <a:pt x="1811668" y="-1567"/>
                </a:moveTo>
                <a:cubicBezTo>
                  <a:pt x="1786864" y="819411"/>
                  <a:pt x="1358716" y="1575320"/>
                  <a:pt x="667379" y="2018746"/>
                </a:cubicBezTo>
                <a:lnTo>
                  <a:pt x="96425" y="1541574"/>
                </a:lnTo>
                <a:lnTo>
                  <a:pt x="-4321" y="844799"/>
                </a:lnTo>
                <a:cubicBezTo>
                  <a:pt x="134890" y="751557"/>
                  <a:pt x="251499" y="628299"/>
                  <a:pt x="336877" y="484144"/>
                </a:cubicBezTo>
                <a:cubicBezTo>
                  <a:pt x="424502" y="336171"/>
                  <a:pt x="476492" y="169909"/>
                  <a:pt x="488805" y="-1612"/>
                </a:cubicBezTo>
                <a:lnTo>
                  <a:pt x="1127297" y="251647"/>
                </a:lnTo>
                <a:close/>
              </a:path>
            </a:pathLst>
          </a:custGeom>
          <a:solidFill>
            <a:schemeClr val="accent2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9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3379559" y="3176138"/>
            <a:ext cx="1823763" cy="2237128"/>
          </a:xfrm>
          <a:custGeom>
            <a:avLst/>
            <a:gdLst>
              <a:gd name="connsiteX0" fmla="*/ 1819442 w 1823763"/>
              <a:gd name="connsiteY0" fmla="*/ 1052807 h 2237128"/>
              <a:gd name="connsiteX1" fmla="*/ 1292210 w 1823763"/>
              <a:gd name="connsiteY1" fmla="*/ 1488684 h 2237128"/>
              <a:gd name="connsiteX2" fmla="*/ 1149899 w 1823763"/>
              <a:gd name="connsiteY2" fmla="*/ 2235517 h 2237128"/>
              <a:gd name="connsiteX3" fmla="*/ -4321 w 1823763"/>
              <a:gd name="connsiteY3" fmla="*/ 208553 h 2237128"/>
              <a:gd name="connsiteX4" fmla="*/ 657492 w 1823763"/>
              <a:gd name="connsiteY4" fmla="*/ -1612 h 2237128"/>
              <a:gd name="connsiteX5" fmla="*/ 1328922 w 1823763"/>
              <a:gd name="connsiteY5" fmla="*/ 208553 h 2237128"/>
              <a:gd name="connsiteX6" fmla="*/ 1480043 w 1823763"/>
              <a:gd name="connsiteY6" fmla="*/ 692781 h 2237128"/>
              <a:gd name="connsiteX7" fmla="*/ 1819442 w 1823763"/>
              <a:gd name="connsiteY7" fmla="*/ 1052807 h 223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23763" h="2237128">
                <a:moveTo>
                  <a:pt x="1819442" y="1052807"/>
                </a:moveTo>
                <a:lnTo>
                  <a:pt x="1292210" y="1488684"/>
                </a:lnTo>
                <a:lnTo>
                  <a:pt x="1149899" y="2235517"/>
                </a:lnTo>
                <a:cubicBezTo>
                  <a:pt x="452900" y="1792989"/>
                  <a:pt x="20617" y="1033754"/>
                  <a:pt x="-4321" y="208553"/>
                </a:cubicBezTo>
                <a:lnTo>
                  <a:pt x="657492" y="-1612"/>
                </a:lnTo>
                <a:lnTo>
                  <a:pt x="1328922" y="208553"/>
                </a:lnTo>
                <a:cubicBezTo>
                  <a:pt x="1341236" y="379444"/>
                  <a:pt x="1392956" y="545213"/>
                  <a:pt x="1480043" y="692781"/>
                </a:cubicBezTo>
                <a:cubicBezTo>
                  <a:pt x="1564971" y="836575"/>
                  <a:pt x="1680905" y="959565"/>
                  <a:pt x="1819442" y="1052807"/>
                </a:cubicBezTo>
                <a:close/>
              </a:path>
            </a:pathLst>
          </a:custGeom>
          <a:solidFill>
            <a:schemeClr val="accent5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19616" y="4885164"/>
            <a:ext cx="2302239" cy="1474744"/>
          </a:xfrm>
          <a:custGeom>
            <a:avLst/>
            <a:gdLst>
              <a:gd name="connsiteX0" fmla="*/ 2297918 w 2302239"/>
              <a:gd name="connsiteY0" fmla="*/ 1176919 h 1474744"/>
              <a:gd name="connsiteX1" fmla="*/ -4321 w 2302239"/>
              <a:gd name="connsiteY1" fmla="*/ 1182716 h 1474744"/>
              <a:gd name="connsiteX2" fmla="*/ 135697 w 2302239"/>
              <a:gd name="connsiteY2" fmla="*/ 459250 h 1474744"/>
              <a:gd name="connsiteX3" fmla="*/ 665940 w 2302239"/>
              <a:gd name="connsiteY3" fmla="*/ -1612 h 1474744"/>
              <a:gd name="connsiteX4" fmla="*/ 1395652 w 2302239"/>
              <a:gd name="connsiteY4" fmla="*/ 79273 h 1474744"/>
              <a:gd name="connsiteX5" fmla="*/ 1624601 w 2302239"/>
              <a:gd name="connsiteY5" fmla="*/ 6 h 1474744"/>
              <a:gd name="connsiteX6" fmla="*/ 1695869 w 2302239"/>
              <a:gd name="connsiteY6" fmla="*/ 682490 h 1474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02239" h="1474744">
                <a:moveTo>
                  <a:pt x="2297918" y="1176919"/>
                </a:moveTo>
                <a:cubicBezTo>
                  <a:pt x="1581326" y="1569793"/>
                  <a:pt x="714246" y="1571995"/>
                  <a:pt x="-4321" y="1182716"/>
                </a:cubicBezTo>
                <a:lnTo>
                  <a:pt x="135697" y="459250"/>
                </a:lnTo>
                <a:lnTo>
                  <a:pt x="665940" y="-1612"/>
                </a:lnTo>
                <a:cubicBezTo>
                  <a:pt x="893271" y="106324"/>
                  <a:pt x="1150213" y="134814"/>
                  <a:pt x="1395652" y="79273"/>
                </a:cubicBezTo>
                <a:cubicBezTo>
                  <a:pt x="1474650" y="61298"/>
                  <a:pt x="1551401" y="34742"/>
                  <a:pt x="1624601" y="6"/>
                </a:cubicBezTo>
                <a:lnTo>
                  <a:pt x="1695869" y="682490"/>
                </a:lnTo>
                <a:close/>
              </a:path>
            </a:pathLst>
          </a:custGeom>
          <a:solidFill>
            <a:schemeClr val="accent4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0C7EA4DD-F03C-43E6-AD43-DE68E53E4EF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B8DDC52-3C64-406E-BCE8-D7C430F2E0B7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8995261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90430" y="1557380"/>
            <a:ext cx="2013766" cy="1878261"/>
          </a:xfrm>
          <a:custGeom>
            <a:avLst/>
            <a:gdLst>
              <a:gd name="connsiteX0" fmla="*/ 2012943 w 2013766"/>
              <a:gd name="connsiteY0" fmla="*/ 1428735 h 1878261"/>
              <a:gd name="connsiteX1" fmla="*/ 2012943 w 2013766"/>
              <a:gd name="connsiteY1" fmla="*/ -223 h 1878261"/>
              <a:gd name="connsiteX2" fmla="*/ -823 w 2013766"/>
              <a:gd name="connsiteY2" fmla="*/ 1163884 h 1878261"/>
              <a:gd name="connsiteX3" fmla="*/ 523365 w 2013766"/>
              <a:gd name="connsiteY3" fmla="*/ 1466662 h 1878261"/>
              <a:gd name="connsiteX4" fmla="*/ 1236547 w 2013766"/>
              <a:gd name="connsiteY4" fmla="*/ 1878039 h 1878261"/>
              <a:gd name="connsiteX5" fmla="*/ 2012943 w 2013766"/>
              <a:gd name="connsiteY5" fmla="*/ 1428735 h 1878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13766" h="1878261">
                <a:moveTo>
                  <a:pt x="2012943" y="1428735"/>
                </a:moveTo>
                <a:lnTo>
                  <a:pt x="2012943" y="-223"/>
                </a:lnTo>
                <a:cubicBezTo>
                  <a:pt x="1191358" y="33913"/>
                  <a:pt x="438756" y="468954"/>
                  <a:pt x="-823" y="1163884"/>
                </a:cubicBezTo>
                <a:lnTo>
                  <a:pt x="523365" y="1466662"/>
                </a:lnTo>
                <a:lnTo>
                  <a:pt x="1236547" y="1878039"/>
                </a:lnTo>
                <a:cubicBezTo>
                  <a:pt x="1417405" y="1622201"/>
                  <a:pt x="1700991" y="1458072"/>
                  <a:pt x="2012943" y="1428735"/>
                </a:cubicBezTo>
                <a:close/>
              </a:path>
            </a:pathLst>
          </a:custGeom>
          <a:solidFill>
            <a:schemeClr val="accent6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3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604177" y="2890058"/>
            <a:ext cx="1524750" cy="2325620"/>
          </a:xfrm>
          <a:custGeom>
            <a:avLst/>
            <a:gdLst>
              <a:gd name="connsiteX0" fmla="*/ 1523927 w 1524750"/>
              <a:gd name="connsiteY0" fmla="*/ 712959 h 2325620"/>
              <a:gd name="connsiteX1" fmla="*/ 286557 w 1524750"/>
              <a:gd name="connsiteY1" fmla="*/ -223 h 2325620"/>
              <a:gd name="connsiteX2" fmla="*/ 286557 w 1524750"/>
              <a:gd name="connsiteY2" fmla="*/ 2325398 h 2325620"/>
              <a:gd name="connsiteX3" fmla="*/ 1523927 w 1524750"/>
              <a:gd name="connsiteY3" fmla="*/ 1612216 h 2325620"/>
              <a:gd name="connsiteX4" fmla="*/ 1523927 w 1524750"/>
              <a:gd name="connsiteY4" fmla="*/ 715552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1523927" y="712959"/>
                </a:moveTo>
                <a:lnTo>
                  <a:pt x="286557" y="-223"/>
                </a:lnTo>
                <a:cubicBezTo>
                  <a:pt x="-96616" y="727644"/>
                  <a:pt x="-96616" y="1597531"/>
                  <a:pt x="286557" y="2325398"/>
                </a:cubicBezTo>
                <a:lnTo>
                  <a:pt x="1523927" y="1612216"/>
                </a:lnTo>
                <a:cubicBezTo>
                  <a:pt x="1392637" y="1327754"/>
                  <a:pt x="1392637" y="1000014"/>
                  <a:pt x="1523927" y="715552"/>
                </a:cubicBezTo>
                <a:close/>
              </a:path>
            </a:pathLst>
          </a:custGeom>
          <a:solidFill>
            <a:schemeClr val="accent5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8700" y="1557380"/>
            <a:ext cx="2015386" cy="1877289"/>
          </a:xfrm>
          <a:custGeom>
            <a:avLst/>
            <a:gdLst>
              <a:gd name="connsiteX0" fmla="*/ 777194 w 2015386"/>
              <a:gd name="connsiteY0" fmla="*/ 1877066 h 1877289"/>
              <a:gd name="connsiteX1" fmla="*/ 2014564 w 2015386"/>
              <a:gd name="connsiteY1" fmla="*/ 1163884 h 1877289"/>
              <a:gd name="connsiteX2" fmla="*/ -823 w 2015386"/>
              <a:gd name="connsiteY2" fmla="*/ -223 h 1877289"/>
              <a:gd name="connsiteX3" fmla="*/ -823 w 2015386"/>
              <a:gd name="connsiteY3" fmla="*/ 1428735 h 1877289"/>
              <a:gd name="connsiteX4" fmla="*/ 777194 w 2015386"/>
              <a:gd name="connsiteY4" fmla="*/ 1877066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777194" y="1877066"/>
                </a:moveTo>
                <a:lnTo>
                  <a:pt x="2014564" y="1163884"/>
                </a:lnTo>
                <a:cubicBezTo>
                  <a:pt x="1574660" y="468467"/>
                  <a:pt x="821346" y="33362"/>
                  <a:pt x="-823" y="-223"/>
                </a:cubicBezTo>
                <a:lnTo>
                  <a:pt x="-823" y="1428735"/>
                </a:lnTo>
                <a:cubicBezTo>
                  <a:pt x="311550" y="1457391"/>
                  <a:pt x="595786" y="1621163"/>
                  <a:pt x="777194" y="1877066"/>
                </a:cubicBezTo>
                <a:close/>
              </a:path>
            </a:pathLst>
          </a:custGeom>
          <a:solidFill>
            <a:schemeClr val="accent3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5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89134" y="4668150"/>
            <a:ext cx="2015062" cy="1878586"/>
          </a:xfrm>
          <a:custGeom>
            <a:avLst/>
            <a:gdLst>
              <a:gd name="connsiteX0" fmla="*/ 1236223 w 2015062"/>
              <a:gd name="connsiteY0" fmla="*/ -223 h 1878586"/>
              <a:gd name="connsiteX1" fmla="*/ -823 w 2015062"/>
              <a:gd name="connsiteY1" fmla="*/ 712959 h 1878586"/>
              <a:gd name="connsiteX2" fmla="*/ 2014239 w 2015062"/>
              <a:gd name="connsiteY2" fmla="*/ 1878363 h 1878586"/>
              <a:gd name="connsiteX3" fmla="*/ 2014239 w 2015062"/>
              <a:gd name="connsiteY3" fmla="*/ 448434 h 1878586"/>
              <a:gd name="connsiteX4" fmla="*/ 1236223 w 2015062"/>
              <a:gd name="connsiteY4" fmla="*/ -223 h 1878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062" h="1878586">
                <a:moveTo>
                  <a:pt x="1236223" y="-223"/>
                </a:moveTo>
                <a:lnTo>
                  <a:pt x="-823" y="712959"/>
                </a:lnTo>
                <a:cubicBezTo>
                  <a:pt x="438820" y="1408668"/>
                  <a:pt x="1191973" y="1844260"/>
                  <a:pt x="2014239" y="1878363"/>
                </a:cubicBezTo>
                <a:lnTo>
                  <a:pt x="2014239" y="448434"/>
                </a:lnTo>
                <a:cubicBezTo>
                  <a:pt x="1701832" y="419615"/>
                  <a:pt x="1417630" y="255713"/>
                  <a:pt x="1236223" y="-223"/>
                </a:cubicBezTo>
                <a:close/>
              </a:path>
            </a:pathLst>
          </a:custGeom>
          <a:solidFill>
            <a:schemeClr val="accent4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6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7073969" y="2887465"/>
            <a:ext cx="1524750" cy="2325620"/>
          </a:xfrm>
          <a:custGeom>
            <a:avLst/>
            <a:gdLst>
              <a:gd name="connsiteX0" fmla="*/ -823 w 1524750"/>
              <a:gd name="connsiteY0" fmla="*/ 715553 h 2325620"/>
              <a:gd name="connsiteX1" fmla="*/ -823 w 1524750"/>
              <a:gd name="connsiteY1" fmla="*/ 1612216 h 2325620"/>
              <a:gd name="connsiteX2" fmla="*/ 1236547 w 1524750"/>
              <a:gd name="connsiteY2" fmla="*/ 2325398 h 2325620"/>
              <a:gd name="connsiteX3" fmla="*/ 1236547 w 1524750"/>
              <a:gd name="connsiteY3" fmla="*/ -223 h 2325620"/>
              <a:gd name="connsiteX4" fmla="*/ 800858 w 1524750"/>
              <a:gd name="connsiteY4" fmla="*/ 251336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-823" y="715553"/>
                </a:moveTo>
                <a:cubicBezTo>
                  <a:pt x="130467" y="1000015"/>
                  <a:pt x="130467" y="1327754"/>
                  <a:pt x="-823" y="1612216"/>
                </a:cubicBezTo>
                <a:lnTo>
                  <a:pt x="1236547" y="2325398"/>
                </a:lnTo>
                <a:cubicBezTo>
                  <a:pt x="1619720" y="1597532"/>
                  <a:pt x="1619720" y="727644"/>
                  <a:pt x="1236547" y="-223"/>
                </a:cubicBezTo>
                <a:lnTo>
                  <a:pt x="800858" y="251336"/>
                </a:lnTo>
                <a:close/>
              </a:path>
            </a:pathLst>
          </a:custGeom>
          <a:solidFill>
            <a:schemeClr val="accent1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7080" y="4669447"/>
            <a:ext cx="2015386" cy="1877289"/>
          </a:xfrm>
          <a:custGeom>
            <a:avLst/>
            <a:gdLst>
              <a:gd name="connsiteX0" fmla="*/ 2014564 w 2015386"/>
              <a:gd name="connsiteY0" fmla="*/ 712959 h 1877289"/>
              <a:gd name="connsiteX1" fmla="*/ 777194 w 2015386"/>
              <a:gd name="connsiteY1" fmla="*/ -223 h 1877289"/>
              <a:gd name="connsiteX2" fmla="*/ -823 w 2015386"/>
              <a:gd name="connsiteY2" fmla="*/ 448433 h 1877289"/>
              <a:gd name="connsiteX3" fmla="*/ -823 w 2015386"/>
              <a:gd name="connsiteY3" fmla="*/ 1877066 h 1877289"/>
              <a:gd name="connsiteX4" fmla="*/ 2014564 w 2015386"/>
              <a:gd name="connsiteY4" fmla="*/ 712959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2014564" y="712959"/>
                </a:moveTo>
                <a:lnTo>
                  <a:pt x="777194" y="-223"/>
                </a:lnTo>
                <a:cubicBezTo>
                  <a:pt x="595883" y="255842"/>
                  <a:pt x="311616" y="419776"/>
                  <a:pt x="-823" y="448433"/>
                </a:cubicBezTo>
                <a:lnTo>
                  <a:pt x="-823" y="1877066"/>
                </a:lnTo>
                <a:cubicBezTo>
                  <a:pt x="821312" y="1843352"/>
                  <a:pt x="1574563" y="1408279"/>
                  <a:pt x="2014564" y="712959"/>
                </a:cubicBezTo>
                <a:close/>
              </a:path>
            </a:pathLst>
          </a:custGeom>
          <a:solidFill>
            <a:schemeClr val="accent2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27B899CC-F789-4B53-AC07-F992D39E197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B8DDC52-3C64-406E-BCE8-D7C430F2E0B7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6279330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41" name="Groep 40">
            <a:extLst>
              <a:ext uri="{FF2B5EF4-FFF2-40B4-BE49-F238E27FC236}">
                <a16:creationId xmlns:a16="http://schemas.microsoft.com/office/drawing/2014/main" id="{0A37B0AA-6828-4A85-A34A-1CDAEF133D09}"/>
              </a:ext>
            </a:extLst>
          </p:cNvPr>
          <p:cNvGrpSpPr/>
          <p:nvPr/>
        </p:nvGrpSpPr>
        <p:grpSpPr>
          <a:xfrm>
            <a:off x="3379559" y="1391096"/>
            <a:ext cx="5420896" cy="5287970"/>
            <a:chOff x="3379559" y="1391096"/>
            <a:chExt cx="5420896" cy="528797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51229" y="1391096"/>
              <a:ext cx="1817966" cy="2020312"/>
            </a:xfrm>
            <a:custGeom>
              <a:avLst/>
              <a:gdLst>
                <a:gd name="connsiteX0" fmla="*/ 1813421 w 1817966"/>
                <a:gd name="connsiteY0" fmla="*/ 1176110 h 2020312"/>
                <a:gd name="connsiteX1" fmla="*/ 1477616 w 1817966"/>
                <a:gd name="connsiteY1" fmla="*/ 1536180 h 2020312"/>
                <a:gd name="connsiteX2" fmla="*/ 1328519 w 1817966"/>
                <a:gd name="connsiteY2" fmla="*/ 2018701 h 2020312"/>
                <a:gd name="connsiteX3" fmla="*/ 686567 w 1817966"/>
                <a:gd name="connsiteY3" fmla="*/ 1788045 h 2020312"/>
                <a:gd name="connsiteX4" fmla="*/ -4321 w 1817966"/>
                <a:gd name="connsiteY4" fmla="*/ 2018701 h 2020312"/>
                <a:gd name="connsiteX5" fmla="*/ 1139608 w 1817966"/>
                <a:gd name="connsiteY5" fmla="*/ -1612 h 2020312"/>
                <a:gd name="connsiteX6" fmla="*/ 1813645 w 1817966"/>
                <a:gd name="connsiteY6" fmla="*/ 433232 h 2020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7966" h="2020312">
                  <a:moveTo>
                    <a:pt x="1813421" y="1176110"/>
                  </a:moveTo>
                  <a:cubicBezTo>
                    <a:pt x="1676231" y="1269801"/>
                    <a:pt x="1561511" y="1392790"/>
                    <a:pt x="1477616" y="1536180"/>
                  </a:cubicBezTo>
                  <a:cubicBezTo>
                    <a:pt x="1391429" y="1683390"/>
                    <a:pt x="1340426" y="1848529"/>
                    <a:pt x="1328519" y="2018701"/>
                  </a:cubicBezTo>
                  <a:lnTo>
                    <a:pt x="686567" y="1788045"/>
                  </a:lnTo>
                  <a:lnTo>
                    <a:pt x="-4321" y="2018701"/>
                  </a:lnTo>
                  <a:cubicBezTo>
                    <a:pt x="20394" y="1197814"/>
                    <a:pt x="448407" y="441904"/>
                    <a:pt x="1139608" y="-1612"/>
                  </a:cubicBezTo>
                  <a:lnTo>
                    <a:pt x="1813645" y="433232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5669569" y="1709799"/>
              <a:ext cx="2302779" cy="1475129"/>
            </a:xfrm>
            <a:custGeom>
              <a:avLst/>
              <a:gdLst>
                <a:gd name="connsiteX0" fmla="*/ 2298458 w 2302779"/>
                <a:gd name="connsiteY0" fmla="*/ 289326 h 1475129"/>
                <a:gd name="connsiteX1" fmla="*/ 2251679 w 2302779"/>
                <a:gd name="connsiteY1" fmla="*/ 1043078 h 1475129"/>
                <a:gd name="connsiteX2" fmla="*/ 1631971 w 2302779"/>
                <a:gd name="connsiteY2" fmla="*/ 1467722 h 1475129"/>
                <a:gd name="connsiteX3" fmla="*/ 1404462 w 2302779"/>
                <a:gd name="connsiteY3" fmla="*/ 1389443 h 1475129"/>
                <a:gd name="connsiteX4" fmla="*/ 903965 w 2302779"/>
                <a:gd name="connsiteY4" fmla="*/ 1390926 h 1475129"/>
                <a:gd name="connsiteX5" fmla="*/ 670299 w 2302779"/>
                <a:gd name="connsiteY5" fmla="*/ 1473518 h 1475129"/>
                <a:gd name="connsiteX6" fmla="*/ 694250 w 2302779"/>
                <a:gd name="connsiteY6" fmla="*/ 736032 h 1475129"/>
                <a:gd name="connsiteX7" fmla="*/ -4321 w 2302779"/>
                <a:gd name="connsiteY7" fmla="*/ 294583 h 1475129"/>
                <a:gd name="connsiteX8" fmla="*/ 2298278 w 2302779"/>
                <a:gd name="connsiteY8" fmla="*/ 289326 h 1475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02779" h="1475129">
                  <a:moveTo>
                    <a:pt x="2298458" y="289326"/>
                  </a:moveTo>
                  <a:lnTo>
                    <a:pt x="2251679" y="1043078"/>
                  </a:lnTo>
                  <a:lnTo>
                    <a:pt x="1631971" y="1467722"/>
                  </a:lnTo>
                  <a:cubicBezTo>
                    <a:pt x="1559220" y="1433436"/>
                    <a:pt x="1482920" y="1407193"/>
                    <a:pt x="1404462" y="1389443"/>
                  </a:cubicBezTo>
                  <a:cubicBezTo>
                    <a:pt x="1239637" y="1352326"/>
                    <a:pt x="1068567" y="1352865"/>
                    <a:pt x="903965" y="1390926"/>
                  </a:cubicBezTo>
                  <a:cubicBezTo>
                    <a:pt x="823217" y="1409574"/>
                    <a:pt x="744849" y="1437300"/>
                    <a:pt x="670299" y="1473518"/>
                  </a:cubicBezTo>
                  <a:lnTo>
                    <a:pt x="694250" y="736032"/>
                  </a:lnTo>
                  <a:lnTo>
                    <a:pt x="-4321" y="294583"/>
                  </a:lnTo>
                  <a:cubicBezTo>
                    <a:pt x="712405" y="-98470"/>
                    <a:pt x="1579755" y="-100447"/>
                    <a:pt x="2298278" y="289326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981052" y="2655178"/>
              <a:ext cx="1819403" cy="2291724"/>
            </a:xfrm>
            <a:custGeom>
              <a:avLst/>
              <a:gdLst>
                <a:gd name="connsiteX0" fmla="*/ 1815082 w 1819403"/>
                <a:gd name="connsiteY0" fmla="*/ 2024992 h 2291724"/>
                <a:gd name="connsiteX1" fmla="*/ 1144146 w 1819403"/>
                <a:gd name="connsiteY1" fmla="*/ 2290113 h 2291724"/>
                <a:gd name="connsiteX2" fmla="*/ 492577 w 1819403"/>
                <a:gd name="connsiteY2" fmla="*/ 2025262 h 2291724"/>
                <a:gd name="connsiteX3" fmla="*/ 339795 w 1819403"/>
                <a:gd name="connsiteY3" fmla="*/ 1536405 h 2291724"/>
                <a:gd name="connsiteX4" fmla="*/ -4321 w 1819403"/>
                <a:gd name="connsiteY4" fmla="*/ 1174447 h 2291724"/>
                <a:gd name="connsiteX5" fmla="*/ 575081 w 1819403"/>
                <a:gd name="connsiteY5" fmla="*/ 813568 h 2291724"/>
                <a:gd name="connsiteX6" fmla="*/ 660862 w 1819403"/>
                <a:gd name="connsiteY6" fmla="*/ -1612 h 2291724"/>
                <a:gd name="connsiteX7" fmla="*/ 1815082 w 1819403"/>
                <a:gd name="connsiteY7" fmla="*/ 2024992 h 2291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9403" h="2291724">
                  <a:moveTo>
                    <a:pt x="1815082" y="2024992"/>
                  </a:moveTo>
                  <a:lnTo>
                    <a:pt x="1144146" y="2290113"/>
                  </a:lnTo>
                  <a:lnTo>
                    <a:pt x="492577" y="2025262"/>
                  </a:lnTo>
                  <a:cubicBezTo>
                    <a:pt x="480489" y="1852618"/>
                    <a:pt x="428186" y="1685187"/>
                    <a:pt x="339795" y="1536405"/>
                  </a:cubicBezTo>
                  <a:cubicBezTo>
                    <a:pt x="253744" y="1391442"/>
                    <a:pt x="136103" y="1267734"/>
                    <a:pt x="-4321" y="1174447"/>
                  </a:cubicBezTo>
                  <a:lnTo>
                    <a:pt x="575081" y="813568"/>
                  </a:lnTo>
                  <a:lnTo>
                    <a:pt x="660862" y="-1612"/>
                  </a:lnTo>
                  <a:cubicBezTo>
                    <a:pt x="1357997" y="440601"/>
                    <a:pt x="1790368" y="1199791"/>
                    <a:pt x="1815082" y="2024992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124564" y="4658708"/>
              <a:ext cx="1815989" cy="2020358"/>
            </a:xfrm>
            <a:custGeom>
              <a:avLst/>
              <a:gdLst>
                <a:gd name="connsiteX0" fmla="*/ 1811668 w 1815989"/>
                <a:gd name="connsiteY0" fmla="*/ -1567 h 2020358"/>
                <a:gd name="connsiteX1" fmla="*/ 667379 w 1815989"/>
                <a:gd name="connsiteY1" fmla="*/ 2018746 h 2020358"/>
                <a:gd name="connsiteX2" fmla="*/ 96425 w 1815989"/>
                <a:gd name="connsiteY2" fmla="*/ 1541574 h 2020358"/>
                <a:gd name="connsiteX3" fmla="*/ -4321 w 1815989"/>
                <a:gd name="connsiteY3" fmla="*/ 844799 h 2020358"/>
                <a:gd name="connsiteX4" fmla="*/ 336877 w 1815989"/>
                <a:gd name="connsiteY4" fmla="*/ 484144 h 2020358"/>
                <a:gd name="connsiteX5" fmla="*/ 488805 w 1815989"/>
                <a:gd name="connsiteY5" fmla="*/ -1612 h 2020358"/>
                <a:gd name="connsiteX6" fmla="*/ 1127297 w 1815989"/>
                <a:gd name="connsiteY6" fmla="*/ 251647 h 202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5989" h="2020358">
                  <a:moveTo>
                    <a:pt x="1811668" y="-1567"/>
                  </a:moveTo>
                  <a:cubicBezTo>
                    <a:pt x="1786864" y="819411"/>
                    <a:pt x="1358716" y="1575320"/>
                    <a:pt x="667379" y="2018746"/>
                  </a:cubicBezTo>
                  <a:lnTo>
                    <a:pt x="96425" y="1541574"/>
                  </a:lnTo>
                  <a:lnTo>
                    <a:pt x="-4321" y="844799"/>
                  </a:lnTo>
                  <a:cubicBezTo>
                    <a:pt x="134890" y="751557"/>
                    <a:pt x="251499" y="628299"/>
                    <a:pt x="336877" y="484144"/>
                  </a:cubicBezTo>
                  <a:cubicBezTo>
                    <a:pt x="424502" y="336171"/>
                    <a:pt x="476492" y="169909"/>
                    <a:pt x="488805" y="-1612"/>
                  </a:cubicBezTo>
                  <a:lnTo>
                    <a:pt x="1127297" y="251647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3379559" y="3176138"/>
              <a:ext cx="1823763" cy="2237128"/>
            </a:xfrm>
            <a:custGeom>
              <a:avLst/>
              <a:gdLst>
                <a:gd name="connsiteX0" fmla="*/ 1819442 w 1823763"/>
                <a:gd name="connsiteY0" fmla="*/ 1052807 h 2237128"/>
                <a:gd name="connsiteX1" fmla="*/ 1292210 w 1823763"/>
                <a:gd name="connsiteY1" fmla="*/ 1488684 h 2237128"/>
                <a:gd name="connsiteX2" fmla="*/ 1149899 w 1823763"/>
                <a:gd name="connsiteY2" fmla="*/ 2235517 h 2237128"/>
                <a:gd name="connsiteX3" fmla="*/ -4321 w 1823763"/>
                <a:gd name="connsiteY3" fmla="*/ 208553 h 2237128"/>
                <a:gd name="connsiteX4" fmla="*/ 657492 w 1823763"/>
                <a:gd name="connsiteY4" fmla="*/ -1612 h 2237128"/>
                <a:gd name="connsiteX5" fmla="*/ 1328922 w 1823763"/>
                <a:gd name="connsiteY5" fmla="*/ 208553 h 2237128"/>
                <a:gd name="connsiteX6" fmla="*/ 1480043 w 1823763"/>
                <a:gd name="connsiteY6" fmla="*/ 692781 h 2237128"/>
                <a:gd name="connsiteX7" fmla="*/ 1819442 w 1823763"/>
                <a:gd name="connsiteY7" fmla="*/ 1052807 h 223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23763" h="2237128">
                  <a:moveTo>
                    <a:pt x="1819442" y="1052807"/>
                  </a:moveTo>
                  <a:lnTo>
                    <a:pt x="1292210" y="1488684"/>
                  </a:lnTo>
                  <a:lnTo>
                    <a:pt x="1149899" y="2235517"/>
                  </a:lnTo>
                  <a:cubicBezTo>
                    <a:pt x="452900" y="1792989"/>
                    <a:pt x="20617" y="1033754"/>
                    <a:pt x="-4321" y="208553"/>
                  </a:cubicBezTo>
                  <a:lnTo>
                    <a:pt x="657492" y="-1612"/>
                  </a:lnTo>
                  <a:lnTo>
                    <a:pt x="1328922" y="208553"/>
                  </a:lnTo>
                  <a:cubicBezTo>
                    <a:pt x="1341236" y="379444"/>
                    <a:pt x="1392956" y="545213"/>
                    <a:pt x="1480043" y="692781"/>
                  </a:cubicBezTo>
                  <a:cubicBezTo>
                    <a:pt x="1564971" y="836575"/>
                    <a:pt x="1680905" y="959565"/>
                    <a:pt x="1819442" y="1052807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19616" y="4885164"/>
              <a:ext cx="2302239" cy="1474744"/>
            </a:xfrm>
            <a:custGeom>
              <a:avLst/>
              <a:gdLst>
                <a:gd name="connsiteX0" fmla="*/ 2297918 w 2302239"/>
                <a:gd name="connsiteY0" fmla="*/ 1176919 h 1474744"/>
                <a:gd name="connsiteX1" fmla="*/ -4321 w 2302239"/>
                <a:gd name="connsiteY1" fmla="*/ 1182716 h 1474744"/>
                <a:gd name="connsiteX2" fmla="*/ 135697 w 2302239"/>
                <a:gd name="connsiteY2" fmla="*/ 459250 h 1474744"/>
                <a:gd name="connsiteX3" fmla="*/ 665940 w 2302239"/>
                <a:gd name="connsiteY3" fmla="*/ -1612 h 1474744"/>
                <a:gd name="connsiteX4" fmla="*/ 1395652 w 2302239"/>
                <a:gd name="connsiteY4" fmla="*/ 79273 h 1474744"/>
                <a:gd name="connsiteX5" fmla="*/ 1624601 w 2302239"/>
                <a:gd name="connsiteY5" fmla="*/ 6 h 1474744"/>
                <a:gd name="connsiteX6" fmla="*/ 1695869 w 2302239"/>
                <a:gd name="connsiteY6" fmla="*/ 682490 h 147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02239" h="1474744">
                  <a:moveTo>
                    <a:pt x="2297918" y="1176919"/>
                  </a:moveTo>
                  <a:cubicBezTo>
                    <a:pt x="1581326" y="1569793"/>
                    <a:pt x="714246" y="1571995"/>
                    <a:pt x="-4321" y="1182716"/>
                  </a:cubicBezTo>
                  <a:lnTo>
                    <a:pt x="135697" y="459250"/>
                  </a:lnTo>
                  <a:lnTo>
                    <a:pt x="665940" y="-1612"/>
                  </a:lnTo>
                  <a:cubicBezTo>
                    <a:pt x="893271" y="106324"/>
                    <a:pt x="1150213" y="134814"/>
                    <a:pt x="1395652" y="79273"/>
                  </a:cubicBezTo>
                  <a:cubicBezTo>
                    <a:pt x="1474650" y="61298"/>
                    <a:pt x="1551401" y="34742"/>
                    <a:pt x="1624601" y="6"/>
                  </a:cubicBezTo>
                  <a:lnTo>
                    <a:pt x="1695869" y="682490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0C7EA4DD-F03C-43E6-AD43-DE68E53E4EF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B8DDC52-3C64-406E-BCE8-D7C430F2E0B7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9420750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ep 17">
            <a:extLst>
              <a:ext uri="{FF2B5EF4-FFF2-40B4-BE49-F238E27FC236}">
                <a16:creationId xmlns:a16="http://schemas.microsoft.com/office/drawing/2014/main" id="{3D09DD10-DF93-4B73-9390-3ABEB1A6BD55}"/>
              </a:ext>
            </a:extLst>
          </p:cNvPr>
          <p:cNvGrpSpPr/>
          <p:nvPr/>
        </p:nvGrpSpPr>
        <p:grpSpPr>
          <a:xfrm>
            <a:off x="3604177" y="1557380"/>
            <a:ext cx="4994542" cy="4989356"/>
            <a:chOff x="3604177" y="1557380"/>
            <a:chExt cx="4994542" cy="4989356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12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90430" y="1557380"/>
              <a:ext cx="2013766" cy="1878261"/>
            </a:xfrm>
            <a:custGeom>
              <a:avLst/>
              <a:gdLst>
                <a:gd name="connsiteX0" fmla="*/ 2012943 w 2013766"/>
                <a:gd name="connsiteY0" fmla="*/ 1428735 h 1878261"/>
                <a:gd name="connsiteX1" fmla="*/ 2012943 w 2013766"/>
                <a:gd name="connsiteY1" fmla="*/ -223 h 1878261"/>
                <a:gd name="connsiteX2" fmla="*/ -823 w 2013766"/>
                <a:gd name="connsiteY2" fmla="*/ 1163884 h 1878261"/>
                <a:gd name="connsiteX3" fmla="*/ 523365 w 2013766"/>
                <a:gd name="connsiteY3" fmla="*/ 1466662 h 1878261"/>
                <a:gd name="connsiteX4" fmla="*/ 1236547 w 2013766"/>
                <a:gd name="connsiteY4" fmla="*/ 1878039 h 1878261"/>
                <a:gd name="connsiteX5" fmla="*/ 2012943 w 2013766"/>
                <a:gd name="connsiteY5" fmla="*/ 1428735 h 1878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13766" h="1878261">
                  <a:moveTo>
                    <a:pt x="2012943" y="1428735"/>
                  </a:moveTo>
                  <a:lnTo>
                    <a:pt x="2012943" y="-223"/>
                  </a:lnTo>
                  <a:cubicBezTo>
                    <a:pt x="1191358" y="33913"/>
                    <a:pt x="438756" y="468954"/>
                    <a:pt x="-823" y="1163884"/>
                  </a:cubicBezTo>
                  <a:lnTo>
                    <a:pt x="523365" y="1466662"/>
                  </a:lnTo>
                  <a:lnTo>
                    <a:pt x="1236547" y="1878039"/>
                  </a:lnTo>
                  <a:cubicBezTo>
                    <a:pt x="1417405" y="1622201"/>
                    <a:pt x="1700991" y="1458072"/>
                    <a:pt x="2012943" y="1428735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604177" y="2890058"/>
              <a:ext cx="1524750" cy="2325620"/>
            </a:xfrm>
            <a:custGeom>
              <a:avLst/>
              <a:gdLst>
                <a:gd name="connsiteX0" fmla="*/ 1523927 w 1524750"/>
                <a:gd name="connsiteY0" fmla="*/ 712959 h 2325620"/>
                <a:gd name="connsiteX1" fmla="*/ 286557 w 1524750"/>
                <a:gd name="connsiteY1" fmla="*/ -223 h 2325620"/>
                <a:gd name="connsiteX2" fmla="*/ 286557 w 1524750"/>
                <a:gd name="connsiteY2" fmla="*/ 2325398 h 2325620"/>
                <a:gd name="connsiteX3" fmla="*/ 1523927 w 1524750"/>
                <a:gd name="connsiteY3" fmla="*/ 1612216 h 2325620"/>
                <a:gd name="connsiteX4" fmla="*/ 1523927 w 1524750"/>
                <a:gd name="connsiteY4" fmla="*/ 715552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1523927" y="712959"/>
                  </a:moveTo>
                  <a:lnTo>
                    <a:pt x="286557" y="-223"/>
                  </a:lnTo>
                  <a:cubicBezTo>
                    <a:pt x="-96616" y="727644"/>
                    <a:pt x="-96616" y="1597531"/>
                    <a:pt x="286557" y="2325398"/>
                  </a:cubicBezTo>
                  <a:lnTo>
                    <a:pt x="1523927" y="1612216"/>
                  </a:lnTo>
                  <a:cubicBezTo>
                    <a:pt x="1392637" y="1327754"/>
                    <a:pt x="1392637" y="1000014"/>
                    <a:pt x="1523927" y="715552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8700" y="1557380"/>
              <a:ext cx="2015386" cy="1877289"/>
            </a:xfrm>
            <a:custGeom>
              <a:avLst/>
              <a:gdLst>
                <a:gd name="connsiteX0" fmla="*/ 777194 w 2015386"/>
                <a:gd name="connsiteY0" fmla="*/ 1877066 h 1877289"/>
                <a:gd name="connsiteX1" fmla="*/ 2014564 w 2015386"/>
                <a:gd name="connsiteY1" fmla="*/ 1163884 h 1877289"/>
                <a:gd name="connsiteX2" fmla="*/ -823 w 2015386"/>
                <a:gd name="connsiteY2" fmla="*/ -223 h 1877289"/>
                <a:gd name="connsiteX3" fmla="*/ -823 w 2015386"/>
                <a:gd name="connsiteY3" fmla="*/ 1428735 h 1877289"/>
                <a:gd name="connsiteX4" fmla="*/ 777194 w 2015386"/>
                <a:gd name="connsiteY4" fmla="*/ 1877066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777194" y="1877066"/>
                  </a:moveTo>
                  <a:lnTo>
                    <a:pt x="2014564" y="1163884"/>
                  </a:lnTo>
                  <a:cubicBezTo>
                    <a:pt x="1574660" y="468467"/>
                    <a:pt x="821346" y="33362"/>
                    <a:pt x="-823" y="-223"/>
                  </a:cubicBezTo>
                  <a:lnTo>
                    <a:pt x="-823" y="1428735"/>
                  </a:lnTo>
                  <a:cubicBezTo>
                    <a:pt x="311550" y="1457391"/>
                    <a:pt x="595786" y="1621163"/>
                    <a:pt x="777194" y="1877066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89134" y="4668150"/>
              <a:ext cx="2015062" cy="1878586"/>
            </a:xfrm>
            <a:custGeom>
              <a:avLst/>
              <a:gdLst>
                <a:gd name="connsiteX0" fmla="*/ 1236223 w 2015062"/>
                <a:gd name="connsiteY0" fmla="*/ -223 h 1878586"/>
                <a:gd name="connsiteX1" fmla="*/ -823 w 2015062"/>
                <a:gd name="connsiteY1" fmla="*/ 712959 h 1878586"/>
                <a:gd name="connsiteX2" fmla="*/ 2014239 w 2015062"/>
                <a:gd name="connsiteY2" fmla="*/ 1878363 h 1878586"/>
                <a:gd name="connsiteX3" fmla="*/ 2014239 w 2015062"/>
                <a:gd name="connsiteY3" fmla="*/ 448434 h 1878586"/>
                <a:gd name="connsiteX4" fmla="*/ 1236223 w 2015062"/>
                <a:gd name="connsiteY4" fmla="*/ -223 h 1878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062" h="1878586">
                  <a:moveTo>
                    <a:pt x="1236223" y="-223"/>
                  </a:moveTo>
                  <a:lnTo>
                    <a:pt x="-823" y="712959"/>
                  </a:lnTo>
                  <a:cubicBezTo>
                    <a:pt x="438820" y="1408668"/>
                    <a:pt x="1191973" y="1844260"/>
                    <a:pt x="2014239" y="1878363"/>
                  </a:cubicBezTo>
                  <a:lnTo>
                    <a:pt x="2014239" y="448434"/>
                  </a:lnTo>
                  <a:cubicBezTo>
                    <a:pt x="1701832" y="419615"/>
                    <a:pt x="1417630" y="255713"/>
                    <a:pt x="1236223" y="-223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7073969" y="2887465"/>
              <a:ext cx="1524750" cy="2325620"/>
            </a:xfrm>
            <a:custGeom>
              <a:avLst/>
              <a:gdLst>
                <a:gd name="connsiteX0" fmla="*/ -823 w 1524750"/>
                <a:gd name="connsiteY0" fmla="*/ 715553 h 2325620"/>
                <a:gd name="connsiteX1" fmla="*/ -823 w 1524750"/>
                <a:gd name="connsiteY1" fmla="*/ 1612216 h 2325620"/>
                <a:gd name="connsiteX2" fmla="*/ 1236547 w 1524750"/>
                <a:gd name="connsiteY2" fmla="*/ 2325398 h 2325620"/>
                <a:gd name="connsiteX3" fmla="*/ 1236547 w 1524750"/>
                <a:gd name="connsiteY3" fmla="*/ -223 h 2325620"/>
                <a:gd name="connsiteX4" fmla="*/ 800858 w 1524750"/>
                <a:gd name="connsiteY4" fmla="*/ 251336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-823" y="715553"/>
                  </a:moveTo>
                  <a:cubicBezTo>
                    <a:pt x="130467" y="1000015"/>
                    <a:pt x="130467" y="1327754"/>
                    <a:pt x="-823" y="1612216"/>
                  </a:cubicBezTo>
                  <a:lnTo>
                    <a:pt x="1236547" y="2325398"/>
                  </a:lnTo>
                  <a:cubicBezTo>
                    <a:pt x="1619720" y="1597532"/>
                    <a:pt x="1619720" y="727644"/>
                    <a:pt x="1236547" y="-223"/>
                  </a:cubicBezTo>
                  <a:lnTo>
                    <a:pt x="800858" y="251336"/>
                  </a:ln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7080" y="4669447"/>
              <a:ext cx="2015386" cy="1877289"/>
            </a:xfrm>
            <a:custGeom>
              <a:avLst/>
              <a:gdLst>
                <a:gd name="connsiteX0" fmla="*/ 2014564 w 2015386"/>
                <a:gd name="connsiteY0" fmla="*/ 712959 h 1877289"/>
                <a:gd name="connsiteX1" fmla="*/ 777194 w 2015386"/>
                <a:gd name="connsiteY1" fmla="*/ -223 h 1877289"/>
                <a:gd name="connsiteX2" fmla="*/ -823 w 2015386"/>
                <a:gd name="connsiteY2" fmla="*/ 448433 h 1877289"/>
                <a:gd name="connsiteX3" fmla="*/ -823 w 2015386"/>
                <a:gd name="connsiteY3" fmla="*/ 1877066 h 1877289"/>
                <a:gd name="connsiteX4" fmla="*/ 2014564 w 2015386"/>
                <a:gd name="connsiteY4" fmla="*/ 712959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2014564" y="712959"/>
                  </a:moveTo>
                  <a:lnTo>
                    <a:pt x="777194" y="-223"/>
                  </a:lnTo>
                  <a:cubicBezTo>
                    <a:pt x="595883" y="255842"/>
                    <a:pt x="311616" y="419776"/>
                    <a:pt x="-823" y="448433"/>
                  </a:cubicBezTo>
                  <a:lnTo>
                    <a:pt x="-823" y="1877066"/>
                  </a:lnTo>
                  <a:cubicBezTo>
                    <a:pt x="821312" y="1843352"/>
                    <a:pt x="1574563" y="1408279"/>
                    <a:pt x="2014564" y="712959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27B899CC-F789-4B53-AC07-F992D39E197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B8DDC52-3C64-406E-BCE8-D7C430F2E0B7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2891966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9" name="Rechte verbindingslijn 8">
            <a:extLst>
              <a:ext uri="{FF2B5EF4-FFF2-40B4-BE49-F238E27FC236}">
                <a16:creationId xmlns:a16="http://schemas.microsoft.com/office/drawing/2014/main" id="{498B4DCE-2704-40D5-AFF2-FF3510C238F1}"/>
              </a:ext>
            </a:extLst>
          </p:cNvPr>
          <p:cNvCxnSpPr/>
          <p:nvPr/>
        </p:nvCxnSpPr>
        <p:spPr>
          <a:xfrm>
            <a:off x="1729824" y="3517948"/>
            <a:ext cx="0" cy="116006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ijdelijke aanduiding voor tekst 11">
            <a:extLst>
              <a:ext uri="{FF2B5EF4-FFF2-40B4-BE49-F238E27FC236}">
                <a16:creationId xmlns:a16="http://schemas.microsoft.com/office/drawing/2014/main" id="{80F700A6-B198-4148-80A5-AF17F78C93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147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D33FE0A0-4B7D-426F-A670-0313E74E861E}"/>
              </a:ext>
            </a:extLst>
          </p:cNvPr>
          <p:cNvCxnSpPr/>
          <p:nvPr/>
        </p:nvCxnSpPr>
        <p:spPr>
          <a:xfrm>
            <a:off x="6106500" y="3517948"/>
            <a:ext cx="0" cy="1160060"/>
          </a:xfrm>
          <a:prstGeom prst="line">
            <a:avLst/>
          </a:prstGeom>
          <a:ln w="19050">
            <a:solidFill>
              <a:srgbClr val="FF7A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ijdelijke aanduiding voor tekst 11">
            <a:extLst>
              <a:ext uri="{FF2B5EF4-FFF2-40B4-BE49-F238E27FC236}">
                <a16:creationId xmlns:a16="http://schemas.microsoft.com/office/drawing/2014/main" id="{CADC3538-E5D6-45E1-A0AB-4E99727BD91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55823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2" name="Rechte verbindingslijn 41">
            <a:extLst>
              <a:ext uri="{FF2B5EF4-FFF2-40B4-BE49-F238E27FC236}">
                <a16:creationId xmlns:a16="http://schemas.microsoft.com/office/drawing/2014/main" id="{FE017B11-C244-434F-929C-0784042EC907}"/>
              </a:ext>
            </a:extLst>
          </p:cNvPr>
          <p:cNvCxnSpPr/>
          <p:nvPr/>
        </p:nvCxnSpPr>
        <p:spPr>
          <a:xfrm>
            <a:off x="10508878" y="3517948"/>
            <a:ext cx="0" cy="116006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ijdelijke aanduiding voor tekst 11">
            <a:extLst>
              <a:ext uri="{FF2B5EF4-FFF2-40B4-BE49-F238E27FC236}">
                <a16:creationId xmlns:a16="http://schemas.microsoft.com/office/drawing/2014/main" id="{7C33880C-2605-40BC-8CC8-EEE1D1900D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258201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4" name="Rechte verbindingslijn 43">
            <a:extLst>
              <a:ext uri="{FF2B5EF4-FFF2-40B4-BE49-F238E27FC236}">
                <a16:creationId xmlns:a16="http://schemas.microsoft.com/office/drawing/2014/main" id="{353B1555-FDDB-4621-BE82-AE12B1A72360}"/>
              </a:ext>
            </a:extLst>
          </p:cNvPr>
          <p:cNvCxnSpPr/>
          <p:nvPr/>
        </p:nvCxnSpPr>
        <p:spPr>
          <a:xfrm>
            <a:off x="3920131" y="3269509"/>
            <a:ext cx="0" cy="1160060"/>
          </a:xfrm>
          <a:prstGeom prst="line">
            <a:avLst/>
          </a:prstGeom>
          <a:ln w="19050">
            <a:solidFill>
              <a:srgbClr val="FF84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ijdelijke aanduiding voor tekst 11">
            <a:extLst>
              <a:ext uri="{FF2B5EF4-FFF2-40B4-BE49-F238E27FC236}">
                <a16:creationId xmlns:a16="http://schemas.microsoft.com/office/drawing/2014/main" id="{CC49ADED-9845-4F27-AD1D-83B9AF69B2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658726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6" name="Rechte verbindingslijn 45">
            <a:extLst>
              <a:ext uri="{FF2B5EF4-FFF2-40B4-BE49-F238E27FC236}">
                <a16:creationId xmlns:a16="http://schemas.microsoft.com/office/drawing/2014/main" id="{178A62CD-F80E-4B85-A96E-E6E982B911E9}"/>
              </a:ext>
            </a:extLst>
          </p:cNvPr>
          <p:cNvCxnSpPr/>
          <p:nvPr/>
        </p:nvCxnSpPr>
        <p:spPr>
          <a:xfrm>
            <a:off x="8285323" y="3269509"/>
            <a:ext cx="0" cy="1160060"/>
          </a:xfrm>
          <a:prstGeom prst="line">
            <a:avLst/>
          </a:prstGeom>
          <a:ln w="19050">
            <a:solidFill>
              <a:srgbClr val="FF69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ijdelijke aanduiding voor tekst 11">
            <a:extLst>
              <a:ext uri="{FF2B5EF4-FFF2-40B4-BE49-F238E27FC236}">
                <a16:creationId xmlns:a16="http://schemas.microsoft.com/office/drawing/2014/main" id="{517B8485-E6B7-4B58-A92D-95A6E3DC259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023918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ep 6">
            <a:extLst>
              <a:ext uri="{FF2B5EF4-FFF2-40B4-BE49-F238E27FC236}">
                <a16:creationId xmlns:a16="http://schemas.microsoft.com/office/drawing/2014/main" id="{46A9B1A9-0FF1-4592-AAD4-7197D0D6927B}"/>
              </a:ext>
            </a:extLst>
          </p:cNvPr>
          <p:cNvGrpSpPr/>
          <p:nvPr/>
        </p:nvGrpSpPr>
        <p:grpSpPr>
          <a:xfrm>
            <a:off x="850232" y="2933444"/>
            <a:ext cx="10506076" cy="2064357"/>
            <a:chOff x="1607298" y="2320542"/>
            <a:chExt cx="11440281" cy="2247921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34FC95EC-A784-4490-8B22-EDDD0F141F40}"/>
                </a:ext>
              </a:extLst>
            </p:cNvPr>
            <p:cNvSpPr/>
            <p:nvPr/>
          </p:nvSpPr>
          <p:spPr>
            <a:xfrm rot="2700000">
              <a:off x="1607298" y="2333873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Graphic 3">
              <a:extLst>
                <a:ext uri="{FF2B5EF4-FFF2-40B4-BE49-F238E27FC236}">
                  <a16:creationId xmlns:a16="http://schemas.microsoft.com/office/drawing/2014/main" id="{E4734907-6B2B-4F61-91A1-5C684C8AC19F}"/>
                </a:ext>
              </a:extLst>
            </p:cNvPr>
            <p:cNvSpPr/>
            <p:nvPr userDrawn="1"/>
          </p:nvSpPr>
          <p:spPr>
            <a:xfrm rot="13500000">
              <a:off x="3988994" y="2652850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Graphic 3">
              <a:extLst>
                <a:ext uri="{FF2B5EF4-FFF2-40B4-BE49-F238E27FC236}">
                  <a16:creationId xmlns:a16="http://schemas.microsoft.com/office/drawing/2014/main" id="{19BBAD39-B46C-4BF9-B89A-61D77733B6D7}"/>
                </a:ext>
              </a:extLst>
            </p:cNvPr>
            <p:cNvSpPr/>
            <p:nvPr/>
          </p:nvSpPr>
          <p:spPr>
            <a:xfrm rot="2700000">
              <a:off x="6374818" y="2330914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Graphic 3">
              <a:extLst>
                <a:ext uri="{FF2B5EF4-FFF2-40B4-BE49-F238E27FC236}">
                  <a16:creationId xmlns:a16="http://schemas.microsoft.com/office/drawing/2014/main" id="{6A2C120C-4E53-4D7C-91E8-420768E4BF9B}"/>
                </a:ext>
              </a:extLst>
            </p:cNvPr>
            <p:cNvSpPr/>
            <p:nvPr userDrawn="1"/>
          </p:nvSpPr>
          <p:spPr>
            <a:xfrm rot="13500000">
              <a:off x="8749686" y="2642478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Graphic 3">
              <a:extLst>
                <a:ext uri="{FF2B5EF4-FFF2-40B4-BE49-F238E27FC236}">
                  <a16:creationId xmlns:a16="http://schemas.microsoft.com/office/drawing/2014/main" id="{E95C94CA-F2FD-4543-A9C3-B15FAD64980B}"/>
                </a:ext>
              </a:extLst>
            </p:cNvPr>
            <p:cNvSpPr/>
            <p:nvPr userDrawn="1"/>
          </p:nvSpPr>
          <p:spPr>
            <a:xfrm rot="2700000">
              <a:off x="11131966" y="2320542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3650A98E-55EC-485D-B218-F494F76EC3C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16B51E7-0FC1-41CA-9BCB-F5095E1C007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FB8DDC52-3C64-406E-BCE8-D7C430F2E0B7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5452059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v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media 2"/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</p:spPr>
        <p:txBody>
          <a:bodyPr rtlCol="0" anchor="ctr">
            <a:noAutofit/>
          </a:bodyPr>
          <a:lstStyle>
            <a:lvl1pPr marL="0" indent="0" algn="ctr">
              <a:buNone/>
              <a:defRPr sz="1600" b="0" baseline="0"/>
            </a:lvl1pPr>
          </a:lstStyle>
          <a:p>
            <a:pPr lvl="0"/>
            <a:r>
              <a:rPr lang="en-US" noProof="0"/>
              <a:t>Click icon to add media</a:t>
            </a:r>
            <a:endParaRPr lang="nl-BE" noProof="0" dirty="0"/>
          </a:p>
        </p:txBody>
      </p:sp>
      <p:sp>
        <p:nvSpPr>
          <p:cNvPr id="8" name="Tijdelijke aanduiding voor tekst 7"/>
          <p:cNvSpPr>
            <a:spLocks noGrp="1"/>
          </p:cNvSpPr>
          <p:nvPr>
            <p:ph type="body" sz="quarter" idx="11"/>
          </p:nvPr>
        </p:nvSpPr>
        <p:spPr>
          <a:xfrm>
            <a:off x="5556609" y="3330933"/>
            <a:ext cx="1078786" cy="107878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33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jdelijke aanduiding voor tekst 9"/>
          <p:cNvSpPr>
            <a:spLocks noGrp="1"/>
          </p:cNvSpPr>
          <p:nvPr>
            <p:ph type="body" sz="quarter" idx="12"/>
          </p:nvPr>
        </p:nvSpPr>
        <p:spPr>
          <a:xfrm>
            <a:off x="420284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jdelijke aanduiding voor tekst 9"/>
          <p:cNvSpPr>
            <a:spLocks noGrp="1"/>
          </p:cNvSpPr>
          <p:nvPr>
            <p:ph type="body" sz="quarter" idx="13"/>
          </p:nvPr>
        </p:nvSpPr>
        <p:spPr>
          <a:xfrm>
            <a:off x="6731716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Rechthoek 38">
            <a:extLst>
              <a:ext uri="{FF2B5EF4-FFF2-40B4-BE49-F238E27FC236}">
                <a16:creationId xmlns:a16="http://schemas.microsoft.com/office/drawing/2014/main" id="{1CEEFD70-3144-4EA9-A60E-E1C7E6D18F62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47A48878-0506-4E44-8B23-5D499E8B78F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41" name="Tekstvak 40">
            <a:extLst>
              <a:ext uri="{FF2B5EF4-FFF2-40B4-BE49-F238E27FC236}">
                <a16:creationId xmlns:a16="http://schemas.microsoft.com/office/drawing/2014/main" id="{623AB98F-8702-466D-99CA-0D09D597414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42" name="Groep 41">
            <a:extLst>
              <a:ext uri="{FF2B5EF4-FFF2-40B4-BE49-F238E27FC236}">
                <a16:creationId xmlns:a16="http://schemas.microsoft.com/office/drawing/2014/main" id="{B0D1267B-CF7E-4450-8B48-59FA4F5A53D3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F1DBA30E-3AC9-4705-972F-432EBD384C4D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4" name="Gelijkbenige driehoek 128">
              <a:extLst>
                <a:ext uri="{FF2B5EF4-FFF2-40B4-BE49-F238E27FC236}">
                  <a16:creationId xmlns:a16="http://schemas.microsoft.com/office/drawing/2014/main" id="{72AE8D8B-3EA6-431B-9403-F78DC77A59CF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5" name="Ovaal 44">
              <a:extLst>
                <a:ext uri="{FF2B5EF4-FFF2-40B4-BE49-F238E27FC236}">
                  <a16:creationId xmlns:a16="http://schemas.microsoft.com/office/drawing/2014/main" id="{2598491F-B788-4AAC-BFBC-1A5E9F22C49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46" name="Rechthoek 45">
              <a:extLst>
                <a:ext uri="{FF2B5EF4-FFF2-40B4-BE49-F238E27FC236}">
                  <a16:creationId xmlns:a16="http://schemas.microsoft.com/office/drawing/2014/main" id="{7D1AA91D-8A0E-418A-8A15-568986FDDCC3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47" name="Rechte verbindingslijn 46">
              <a:extLst>
                <a:ext uri="{FF2B5EF4-FFF2-40B4-BE49-F238E27FC236}">
                  <a16:creationId xmlns:a16="http://schemas.microsoft.com/office/drawing/2014/main" id="{C2DCC380-E160-4F6C-BEC6-78AA43095A5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48" name="Tekstvak 47">
            <a:extLst>
              <a:ext uri="{FF2B5EF4-FFF2-40B4-BE49-F238E27FC236}">
                <a16:creationId xmlns:a16="http://schemas.microsoft.com/office/drawing/2014/main" id="{8A5F2955-E614-440D-B2FE-3A6BD25106DF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49" name="Tekstvak 48">
            <a:extLst>
              <a:ext uri="{FF2B5EF4-FFF2-40B4-BE49-F238E27FC236}">
                <a16:creationId xmlns:a16="http://schemas.microsoft.com/office/drawing/2014/main" id="{165C8EA5-BEC1-4AC0-9E6E-7C362681A42B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50" name="Groep 49">
            <a:extLst>
              <a:ext uri="{FF2B5EF4-FFF2-40B4-BE49-F238E27FC236}">
                <a16:creationId xmlns:a16="http://schemas.microsoft.com/office/drawing/2014/main" id="{439C349D-FD25-444B-ADF5-07B4C9FA4994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51" name="Rechthoek 50">
              <a:extLst>
                <a:ext uri="{FF2B5EF4-FFF2-40B4-BE49-F238E27FC236}">
                  <a16:creationId xmlns:a16="http://schemas.microsoft.com/office/drawing/2014/main" id="{F59DC191-F09F-45B3-9BB0-F21AFF78FAD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52" name="Groep 51">
              <a:extLst>
                <a:ext uri="{FF2B5EF4-FFF2-40B4-BE49-F238E27FC236}">
                  <a16:creationId xmlns:a16="http://schemas.microsoft.com/office/drawing/2014/main" id="{B44A1207-8AD5-4602-BAE4-3023555ACD87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61" name="Rechthoek 60">
                <a:extLst>
                  <a:ext uri="{FF2B5EF4-FFF2-40B4-BE49-F238E27FC236}">
                    <a16:creationId xmlns:a16="http://schemas.microsoft.com/office/drawing/2014/main" id="{88AA076E-194A-4EBE-BAC8-8B383661080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2" name="Rechthoek 61">
                <a:extLst>
                  <a:ext uri="{FF2B5EF4-FFF2-40B4-BE49-F238E27FC236}">
                    <a16:creationId xmlns:a16="http://schemas.microsoft.com/office/drawing/2014/main" id="{42B11435-5F52-4C73-8B92-12B5195452DE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3" name="Rechthoek 62">
                <a:extLst>
                  <a:ext uri="{FF2B5EF4-FFF2-40B4-BE49-F238E27FC236}">
                    <a16:creationId xmlns:a16="http://schemas.microsoft.com/office/drawing/2014/main" id="{6C4E4824-E5D8-4022-8A19-72A2BD7F47C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BAA2F00B-5D96-4B88-9CBE-560B618B43EB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5" name="Rechthoek 64">
                <a:extLst>
                  <a:ext uri="{FF2B5EF4-FFF2-40B4-BE49-F238E27FC236}">
                    <a16:creationId xmlns:a16="http://schemas.microsoft.com/office/drawing/2014/main" id="{E8D6AFBE-D8C3-4DDE-A9C6-E8DB9C83609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6" name="Rechthoek 65">
                <a:extLst>
                  <a:ext uri="{FF2B5EF4-FFF2-40B4-BE49-F238E27FC236}">
                    <a16:creationId xmlns:a16="http://schemas.microsoft.com/office/drawing/2014/main" id="{8D5B997B-A680-4C98-B4F9-FE04AC85B4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7" name="Rechthoek 66">
                <a:extLst>
                  <a:ext uri="{FF2B5EF4-FFF2-40B4-BE49-F238E27FC236}">
                    <a16:creationId xmlns:a16="http://schemas.microsoft.com/office/drawing/2014/main" id="{DEE1CAE3-36E4-40A8-9499-8DB7787C38B1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53" name="Groep 52">
              <a:extLst>
                <a:ext uri="{FF2B5EF4-FFF2-40B4-BE49-F238E27FC236}">
                  <a16:creationId xmlns:a16="http://schemas.microsoft.com/office/drawing/2014/main" id="{84329183-47F3-4535-A333-F2D18CB3EE83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54" name="Rechthoek 53">
                <a:extLst>
                  <a:ext uri="{FF2B5EF4-FFF2-40B4-BE49-F238E27FC236}">
                    <a16:creationId xmlns:a16="http://schemas.microsoft.com/office/drawing/2014/main" id="{49C7A26D-E842-4193-A36B-F199F01096E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5" name="Rechthoek 54">
                <a:extLst>
                  <a:ext uri="{FF2B5EF4-FFF2-40B4-BE49-F238E27FC236}">
                    <a16:creationId xmlns:a16="http://schemas.microsoft.com/office/drawing/2014/main" id="{334E94C0-FA9A-4D4D-93AE-45DB4DE0E8E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6" name="Rechthoek 55">
                <a:extLst>
                  <a:ext uri="{FF2B5EF4-FFF2-40B4-BE49-F238E27FC236}">
                    <a16:creationId xmlns:a16="http://schemas.microsoft.com/office/drawing/2014/main" id="{2DB6F8D9-454C-482B-A42B-26567DFA216B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7" name="Rechthoek 56">
                <a:extLst>
                  <a:ext uri="{FF2B5EF4-FFF2-40B4-BE49-F238E27FC236}">
                    <a16:creationId xmlns:a16="http://schemas.microsoft.com/office/drawing/2014/main" id="{0C8EFB32-A6A1-4844-B8CF-B16A4CFA3E2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8" name="Rechthoek 57">
                <a:extLst>
                  <a:ext uri="{FF2B5EF4-FFF2-40B4-BE49-F238E27FC236}">
                    <a16:creationId xmlns:a16="http://schemas.microsoft.com/office/drawing/2014/main" id="{B5BC8841-77D1-4FE2-9AFD-922920A7AB8A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9" name="Rechthoek 58">
                <a:extLst>
                  <a:ext uri="{FF2B5EF4-FFF2-40B4-BE49-F238E27FC236}">
                    <a16:creationId xmlns:a16="http://schemas.microsoft.com/office/drawing/2014/main" id="{81CBC155-3249-4821-9667-F42EE811689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0" name="Rechthoek 59">
                <a:extLst>
                  <a:ext uri="{FF2B5EF4-FFF2-40B4-BE49-F238E27FC236}">
                    <a16:creationId xmlns:a16="http://schemas.microsoft.com/office/drawing/2014/main" id="{C5893313-C022-4420-822F-75B9D3745A8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68" name="Tekstvak 67">
            <a:extLst>
              <a:ext uri="{FF2B5EF4-FFF2-40B4-BE49-F238E27FC236}">
                <a16:creationId xmlns:a16="http://schemas.microsoft.com/office/drawing/2014/main" id="{40B4AD63-82E1-4FEA-809A-336B41E5B2E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2427577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22" presetClass="exit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22" presetClass="exit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animBg="1">
        <p:tmplLst>
          <p:tmpl>
            <p:tnLst>
              <p:par>
                <p:cTn presetID="31" presetClass="exit" presetSubtype="0" fill="hold" nodeType="clickEffect">
                  <p:stCondLst>
                    <p:cond delay="0"/>
                  </p:stCondLst>
                  <p:childTnLst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strVal val="ppt_w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ppt_h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style.rotation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fltVal val="90"/>
                          </p:val>
                        </p:tav>
                      </p:tavLst>
                    </p:anim>
                    <p:animEffect transition="out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0" grpId="0" animBg="1">
        <p:tmplLst>
          <p:tmpl>
            <p:tnLst>
              <p:par>
                <p:cTn presetID="22" presetClass="exit" presetSubtype="2" fill="hold" nodeType="withEffect">
                  <p:stCondLst>
                    <p:cond delay="0"/>
                  </p:stCondLst>
                  <p:childTnLst>
                    <p:animEffect transition="out" filter="wipe(right)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1" grpId="0" animBg="1">
        <p:tmplLst>
          <p:tmpl>
            <p:tnLst>
              <p:par>
                <p:cTn presetID="22" presetClass="exit" presetSubtype="8" fill="hold" nodeType="withEffect">
                  <p:stCondLst>
                    <p:cond delay="0"/>
                  </p:stCondLst>
                  <p:childTnLst>
                    <p:animEffect transition="out" filter="wipe(left)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B3013-47ED-4FAD-A566-5139DC3153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7295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B3013-47ED-4FAD-A566-5139DC3153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25D3B4E-A54E-457D-8993-34E4AD67B23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B8DDC52-3C64-406E-BCE8-D7C430F2E0B7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08482684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A3B2CE2-6E36-4B39-B81C-A871255F69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4322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A3B2CE2-6E36-4B39-B81C-A871255F69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>
            <a:extLst>
              <a:ext uri="{FF2B5EF4-FFF2-40B4-BE49-F238E27FC236}">
                <a16:creationId xmlns:a16="http://schemas.microsoft.com/office/drawing/2014/main" id="{28089973-667C-4261-A3F8-79E71E532240}"/>
              </a:ext>
            </a:extLst>
          </p:cNvPr>
          <p:cNvSpPr/>
          <p:nvPr/>
        </p:nvSpPr>
        <p:spPr>
          <a:xfrm rot="14837460">
            <a:off x="1109866" y="4496958"/>
            <a:ext cx="1810388" cy="4027195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6224337" y="1651889"/>
            <a:ext cx="7724891" cy="772489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76968" y="3989125"/>
            <a:ext cx="6365516" cy="1818117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771A229C-676B-44C4-A449-BC2C885A974B}"/>
              </a:ext>
            </a:extLst>
          </p:cNvPr>
          <p:cNvSpPr txBox="1"/>
          <p:nvPr/>
        </p:nvSpPr>
        <p:spPr>
          <a:xfrm>
            <a:off x="676968" y="921330"/>
            <a:ext cx="636551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9600"/>
              </a:lnSpc>
            </a:pPr>
            <a:r>
              <a:rPr lang="en-GB" sz="9600" b="1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213722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ubtitl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C227932-C3A5-4BE2-B468-0B2D2E1D3C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3000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C227932-C3A5-4BE2-B468-0B2D2E1D3C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>
            <a:extLst>
              <a:ext uri="{FF2B5EF4-FFF2-40B4-BE49-F238E27FC236}">
                <a16:creationId xmlns:a16="http://schemas.microsoft.com/office/drawing/2014/main" id="{1A471AC0-2471-4CD3-A61D-8D184731D0F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6153698" y="3658094"/>
            <a:ext cx="1976529" cy="489351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 rot="9139577">
            <a:off x="6832407" y="-3517582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vert="horz" anchor="b">
            <a:normAutofit/>
          </a:bodyPr>
          <a:lstStyle>
            <a:lvl1pPr algn="l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89189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4CBE0D08-EAB2-466E-96DE-5CAB2FBFFC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235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F50CBD1-249B-4C83-A631-A92C0A25F43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5596" y="1600199"/>
            <a:ext cx="9144000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838389C-B08A-4D81-913A-0E2065AD09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5596" y="3991607"/>
            <a:ext cx="9144000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71215E-4F15-46A6-9578-08B473C86F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64BDE1A-9F93-4560-B942-869CF46E25EE}" type="datetimeFigureOut">
              <a:rPr lang="en-GB" smtClean="0"/>
              <a:pPr/>
              <a:t>21/05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9D8B42B-5DD7-4680-9283-095FC48F66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FDE2229-46EE-434C-837B-83AACE237F6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51668" y="-614363"/>
            <a:ext cx="7874000" cy="4429125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5F840F-0D10-4CD1-A794-9B63C815F3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CDE0DE0-89F3-4FD9-B0B2-339554AA82D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663714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5B0FA0-F6E9-4D18-880D-9C6B121B44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CD25F9-2502-4CA3-A908-534A4EFD05C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D739D16-652E-4F14-ACFD-DA46917F33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64BDE1A-9F93-4560-B942-869CF46E25EE}" type="datetimeFigureOut">
              <a:rPr lang="en-GB" smtClean="0"/>
              <a:pPr/>
              <a:t>21/05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462A520-75CC-464B-8A48-8B305B3BDB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329EF6-F4DA-45CB-BC41-BE36C3F80A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CDE0DE0-89F3-4FD9-B0B2-339554AA82D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415398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64C4C8C-B655-4BD6-A472-9B577FF7DB6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12192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56D8B7F-959B-4A08-BA79-D43A31E5AB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709738"/>
            <a:ext cx="10515600" cy="2852737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748DBC-DC00-4FCC-8888-956511ADDE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9DC110-67DC-41BC-AA5E-A4F6D6B9B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64BDE1A-9F93-4560-B942-869CF46E25EE}" type="datetimeFigureOut">
              <a:rPr lang="en-GB" smtClean="0"/>
              <a:pPr/>
              <a:t>21/05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8ABD17-464C-4FFC-A6F4-0F673535AD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8F60F6-07B8-467A-A72A-EBA1561445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CDE0DE0-89F3-4FD9-B0B2-339554AA82D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643116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2E58D5-E881-4193-A602-93F87166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4FF809-0B58-4550-A185-3E475934B57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66E368F-C88F-4019-A423-ECFD1DF5E60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A1EF519-FE96-4D6B-A58A-C65BE5DE1A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64BDE1A-9F93-4560-B942-869CF46E25EE}" type="datetimeFigureOut">
              <a:rPr lang="en-GB" smtClean="0"/>
              <a:pPr/>
              <a:t>21/05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202CA2A-AD02-4566-8B9F-7203692906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1F6B1B9-4775-4416-A70D-5A1940F9CF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CDE0DE0-89F3-4FD9-B0B2-339554AA82D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030508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10F43B-BE76-4EB5-9566-38D6299C98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A3C3AA-14BA-4719-8D02-C521CA8D2B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6C7BAB1-BE09-48EB-885C-4F28489E902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1098394-E017-4A24-9A56-E9513B0041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E09AACB-0BBA-490F-9358-3C2E71D1699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194A055-3787-454C-BADE-7933EA3548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64BDE1A-9F93-4560-B942-869CF46E25EE}" type="datetimeFigureOut">
              <a:rPr lang="en-GB" smtClean="0"/>
              <a:pPr/>
              <a:t>21/05/2022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A09BD85-A57D-40FB-8EEB-68906959CA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2158329-59B0-4743-847E-AEDD1B8ECE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CDE0DE0-89F3-4FD9-B0B2-339554AA82D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655087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AD9908-0574-45CA-B6C5-C8B4CE108B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2FA2A0E-0EEF-4BC2-838C-279DAE18EE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64BDE1A-9F93-4560-B942-869CF46E25EE}" type="datetimeFigureOut">
              <a:rPr lang="en-GB" smtClean="0"/>
              <a:pPr/>
              <a:t>21/05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9C5082-EE7A-4FAC-AFC3-0A2ADDB386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ECA7D3-5034-43AD-A3C6-A38F3D1F5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CDE0DE0-89F3-4FD9-B0B2-339554AA82D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773750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BC07635-18B2-42C4-8363-FC4782D5B4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4BDE1A-9F93-4560-B942-869CF46E25EE}" type="datetimeFigureOut">
              <a:rPr lang="en-GB" smtClean="0"/>
              <a:t>21/05/2022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52F8D18-BDC4-4FC1-9D3B-AD344F6167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7C64DD3-F0D3-4D90-9E8D-5FED972485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DE0DE0-89F3-4FD9-B0B2-339554AA82D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212032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CD098E-914C-45C1-860C-BC8890DBF5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D22CBEF-8EE6-471D-9556-6CE4231CCB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4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EDE573-9D06-4226-A684-934CCEC38AC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9EE88EC-F74E-4E02-AD23-54BAC35E5A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64BDE1A-9F93-4560-B942-869CF46E25EE}" type="datetimeFigureOut">
              <a:rPr lang="en-GB" smtClean="0"/>
              <a:pPr/>
              <a:t>21/05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7836061-3D71-4BE5-8630-2186F403E1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807BAE2-335A-4ABB-BB25-54441FB2FD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CDE0DE0-89F3-4FD9-B0B2-339554AA82D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542476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924ADE-39B1-4D0D-A465-16AE261B2C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4B6F239-B6AB-4CD0-ADB3-C41576AB47E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B74A28-0F82-4BC7-A2E3-BED1E548E7E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CEC5DB8-63F2-4FAE-BA93-758F980823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64BDE1A-9F93-4560-B942-869CF46E25EE}" type="datetimeFigureOut">
              <a:rPr lang="en-GB" smtClean="0"/>
              <a:pPr/>
              <a:t>21/05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61FE3D-F668-41DD-9065-C609CA5D02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F4A75E-4BD7-42DF-8112-D41E524321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CDE0DE0-89F3-4FD9-B0B2-339554AA82D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899329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7895A6-9335-44DC-82E9-33C1553756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CB1B961-FA5E-408D-B6A5-E02E56471FF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59FD3DB-688B-469D-B642-935223F84B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64BDE1A-9F93-4560-B942-869CF46E25EE}" type="datetimeFigureOut">
              <a:rPr lang="en-GB" smtClean="0"/>
              <a:pPr/>
              <a:t>21/05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93D56F-C4CE-41DD-857A-5E74A97459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32CF1B-BA59-4EA3-B77F-9F9414F0AB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CDE0DE0-89F3-4FD9-B0B2-339554AA82D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09822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AE998DF9-8C1D-46A7-883C-8718EA523E1C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7677738" y="394174"/>
            <a:ext cx="6143153" cy="6143152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EF6A98CC-F557-4D9B-A099-463552032E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995793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F7A566F-0BDD-4C39-8CF3-72E21735BB4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BE7FFE7-0378-4AFB-9652-E3E16A89D3B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21AC2A-1AA7-4CCA-A751-A1BB88838F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64BDE1A-9F93-4560-B942-869CF46E25EE}" type="datetimeFigureOut">
              <a:rPr lang="en-GB" smtClean="0"/>
              <a:pPr/>
              <a:t>21/05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F669A4-FB18-4D2C-8221-99B444B737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C29D8A-A299-4708-B6B8-C88B7CAE21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CDE0DE0-89F3-4FD9-B0B2-339554AA82D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94426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-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562AE43F-CF1E-4884-9C1C-903846FB5ED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B92F278-3E36-4026-AE77-45C36C3D36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484" y="682123"/>
            <a:ext cx="4981074" cy="1985210"/>
          </a:xfrm>
        </p:spPr>
        <p:txBody>
          <a:bodyPr anchor="b"/>
          <a:lstStyle>
            <a:lvl1pPr>
              <a:defRPr b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328067BC-D300-403B-8A41-F91504D058B6}"/>
              </a:ext>
            </a:extLst>
          </p:cNvPr>
          <p:cNvSpPr/>
          <p:nvPr/>
        </p:nvSpPr>
        <p:spPr>
          <a:xfrm>
            <a:off x="3969613" y="4014873"/>
            <a:ext cx="2126387" cy="2843128"/>
          </a:xfrm>
          <a:custGeom>
            <a:avLst/>
            <a:gdLst>
              <a:gd name="connsiteX0" fmla="*/ 2126387 w 2126387"/>
              <a:gd name="connsiteY0" fmla="*/ 0 h 2843128"/>
              <a:gd name="connsiteX1" fmla="*/ 2126387 w 2126387"/>
              <a:gd name="connsiteY1" fmla="*/ 1332544 h 2843128"/>
              <a:gd name="connsiteX2" fmla="*/ 2011075 w 2126387"/>
              <a:gd name="connsiteY2" fmla="*/ 1388096 h 2843128"/>
              <a:gd name="connsiteX3" fmla="*/ 1276519 w 2126387"/>
              <a:gd name="connsiteY3" fmla="*/ 2621962 h 2843128"/>
              <a:gd name="connsiteX4" fmla="*/ 1283764 w 2126387"/>
              <a:gd name="connsiteY4" fmla="*/ 2765426 h 2843128"/>
              <a:gd name="connsiteX5" fmla="*/ 1295625 w 2126387"/>
              <a:gd name="connsiteY5" fmla="*/ 2843128 h 2843128"/>
              <a:gd name="connsiteX6" fmla="*/ 11167 w 2126387"/>
              <a:gd name="connsiteY6" fmla="*/ 2843128 h 2843128"/>
              <a:gd name="connsiteX7" fmla="*/ 0 w 2126387"/>
              <a:gd name="connsiteY7" fmla="*/ 2621962 h 2843128"/>
              <a:gd name="connsiteX8" fmla="*/ 1882897 w 2126387"/>
              <a:gd name="connsiteY8" fmla="*/ 62605 h 2843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26387" h="2843128">
                <a:moveTo>
                  <a:pt x="2126387" y="0"/>
                </a:moveTo>
                <a:lnTo>
                  <a:pt x="2126387" y="1332544"/>
                </a:lnTo>
                <a:lnTo>
                  <a:pt x="2011075" y="1388096"/>
                </a:lnTo>
                <a:cubicBezTo>
                  <a:pt x="1573635" y="1625731"/>
                  <a:pt x="1276519" y="2089192"/>
                  <a:pt x="1276519" y="2621962"/>
                </a:cubicBezTo>
                <a:cubicBezTo>
                  <a:pt x="1276519" y="2670396"/>
                  <a:pt x="1278973" y="2718256"/>
                  <a:pt x="1283764" y="2765426"/>
                </a:cubicBezTo>
                <a:lnTo>
                  <a:pt x="1295625" y="2843128"/>
                </a:lnTo>
                <a:lnTo>
                  <a:pt x="11167" y="2843128"/>
                </a:lnTo>
                <a:lnTo>
                  <a:pt x="0" y="2621962"/>
                </a:lnTo>
                <a:cubicBezTo>
                  <a:pt x="0" y="1419416"/>
                  <a:pt x="791990" y="401898"/>
                  <a:pt x="1882897" y="62605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E58A4E09-B771-4D46-9BFC-C0926E6A9E7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5484" y="2919997"/>
            <a:ext cx="4981074" cy="93846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7" name="Tijdelijke aanduiding voor tekst 16">
            <a:extLst>
              <a:ext uri="{FF2B5EF4-FFF2-40B4-BE49-F238E27FC236}">
                <a16:creationId xmlns:a16="http://schemas.microsoft.com/office/drawing/2014/main" id="{8408E3B1-DF3F-4224-80FC-BF290DFE832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5913" y="3954713"/>
            <a:ext cx="3232800" cy="29016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 marL="457200" indent="0">
              <a:buNone/>
              <a:defRPr sz="100">
                <a:noFill/>
              </a:defRPr>
            </a:lvl2pPr>
            <a:lvl3pPr marL="914400" indent="0">
              <a:buNone/>
              <a:defRPr sz="100">
                <a:noFill/>
              </a:defRPr>
            </a:lvl3pPr>
            <a:lvl4pPr marL="1371600" indent="0">
              <a:buNone/>
              <a:defRPr sz="100">
                <a:noFill/>
              </a:defRPr>
            </a:lvl4pPr>
            <a:lvl5pPr marL="1828800" indent="0">
              <a:buNone/>
              <a:defRPr sz="100"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0" name="Rechthoek 99">
            <a:extLst>
              <a:ext uri="{FF2B5EF4-FFF2-40B4-BE49-F238E27FC236}">
                <a16:creationId xmlns:a16="http://schemas.microsoft.com/office/drawing/2014/main" id="{026C2B54-10DE-4DB0-9FBB-B49FD34D1488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01" name="Rechte verbindingslijn 100">
            <a:extLst>
              <a:ext uri="{FF2B5EF4-FFF2-40B4-BE49-F238E27FC236}">
                <a16:creationId xmlns:a16="http://schemas.microsoft.com/office/drawing/2014/main" id="{015A26D9-25E2-4D7C-9B21-59F4681390D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02" name="Tekstvak 101">
            <a:extLst>
              <a:ext uri="{FF2B5EF4-FFF2-40B4-BE49-F238E27FC236}">
                <a16:creationId xmlns:a16="http://schemas.microsoft.com/office/drawing/2014/main" id="{D0B8D6E5-78FC-4E79-8093-E330489A6E1B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03" name="Groep 102">
            <a:extLst>
              <a:ext uri="{FF2B5EF4-FFF2-40B4-BE49-F238E27FC236}">
                <a16:creationId xmlns:a16="http://schemas.microsoft.com/office/drawing/2014/main" id="{A7E55E96-C2D0-48B3-A6E7-C03FCA5AF4B0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4" name="Rechthoek 103">
              <a:extLst>
                <a:ext uri="{FF2B5EF4-FFF2-40B4-BE49-F238E27FC236}">
                  <a16:creationId xmlns:a16="http://schemas.microsoft.com/office/drawing/2014/main" id="{4F1352B4-D000-4E98-BF96-1EBDD289BB0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5" name="Gelijkbenige driehoek 128">
              <a:extLst>
                <a:ext uri="{FF2B5EF4-FFF2-40B4-BE49-F238E27FC236}">
                  <a16:creationId xmlns:a16="http://schemas.microsoft.com/office/drawing/2014/main" id="{DE777BB2-0974-471B-A7BF-EBF9E4AA8F7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1FB47A5C-DC31-4E8C-99EE-57CCE70E44B2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AA5B7EC1-9BBA-4F1F-86C5-FF716A5D7C8C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381A1ACB-428F-4517-AF67-2FDD35C8C4E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09" name="Tekstvak 108">
            <a:extLst>
              <a:ext uri="{FF2B5EF4-FFF2-40B4-BE49-F238E27FC236}">
                <a16:creationId xmlns:a16="http://schemas.microsoft.com/office/drawing/2014/main" id="{C7AB16CC-3B2F-4637-9874-3738DEA59727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10" name="Tekstvak 109">
            <a:extLst>
              <a:ext uri="{FF2B5EF4-FFF2-40B4-BE49-F238E27FC236}">
                <a16:creationId xmlns:a16="http://schemas.microsoft.com/office/drawing/2014/main" id="{BD4EE27E-331E-452E-A625-11BC2EA3CAF4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11" name="Groep 110">
            <a:extLst>
              <a:ext uri="{FF2B5EF4-FFF2-40B4-BE49-F238E27FC236}">
                <a16:creationId xmlns:a16="http://schemas.microsoft.com/office/drawing/2014/main" id="{87AF777E-3EB7-49B1-9384-9DEB3DF60208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6B2E8D27-EA47-46F9-933D-A7B19C6A5EAB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A927F2CD-64F8-43BC-863E-46A1C22AE73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3FFB8635-05FC-4BA5-A140-CA615757EF49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3" name="Rechthoek 122">
                <a:extLst>
                  <a:ext uri="{FF2B5EF4-FFF2-40B4-BE49-F238E27FC236}">
                    <a16:creationId xmlns:a16="http://schemas.microsoft.com/office/drawing/2014/main" id="{26C55860-800E-4133-8C74-89A7E7F7D544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4" name="Rechthoek 123">
                <a:extLst>
                  <a:ext uri="{FF2B5EF4-FFF2-40B4-BE49-F238E27FC236}">
                    <a16:creationId xmlns:a16="http://schemas.microsoft.com/office/drawing/2014/main" id="{8690FCBC-D37D-434C-A27C-0C8F592659D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5" name="Rechthoek 124">
                <a:extLst>
                  <a:ext uri="{FF2B5EF4-FFF2-40B4-BE49-F238E27FC236}">
                    <a16:creationId xmlns:a16="http://schemas.microsoft.com/office/drawing/2014/main" id="{428F1B09-7BC0-4739-8FD9-FA95461B89A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6" name="Rechthoek 125">
                <a:extLst>
                  <a:ext uri="{FF2B5EF4-FFF2-40B4-BE49-F238E27FC236}">
                    <a16:creationId xmlns:a16="http://schemas.microsoft.com/office/drawing/2014/main" id="{D2270932-42A6-465E-9CF2-AE4DC7B23285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7" name="Rechthoek 126">
                <a:extLst>
                  <a:ext uri="{FF2B5EF4-FFF2-40B4-BE49-F238E27FC236}">
                    <a16:creationId xmlns:a16="http://schemas.microsoft.com/office/drawing/2014/main" id="{CE20B0D9-B48B-422A-847D-AF23BF6FBAA7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8" name="Rechthoek 127">
                <a:extLst>
                  <a:ext uri="{FF2B5EF4-FFF2-40B4-BE49-F238E27FC236}">
                    <a16:creationId xmlns:a16="http://schemas.microsoft.com/office/drawing/2014/main" id="{8844DFE3-70CB-4F98-A827-86EE344DF3A7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114" name="Groep 113">
              <a:extLst>
                <a:ext uri="{FF2B5EF4-FFF2-40B4-BE49-F238E27FC236}">
                  <a16:creationId xmlns:a16="http://schemas.microsoft.com/office/drawing/2014/main" id="{6D2B3335-C2CB-4488-B19F-2AFDC1E5880C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93568914-1038-4BFB-9CBC-0A778B3FD4A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373A2D67-4500-4785-B9FF-09FA6B86DE2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B2577D0E-FC38-40FC-964B-1AD3C18AEA1A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8" name="Rechthoek 117">
                <a:extLst>
                  <a:ext uri="{FF2B5EF4-FFF2-40B4-BE49-F238E27FC236}">
                    <a16:creationId xmlns:a16="http://schemas.microsoft.com/office/drawing/2014/main" id="{BB8D67FD-FAEF-4AA5-BB60-0F48191B8E9C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24EEF202-722D-44E6-8F87-5F4CB453959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0" name="Rechthoek 119">
                <a:extLst>
                  <a:ext uri="{FF2B5EF4-FFF2-40B4-BE49-F238E27FC236}">
                    <a16:creationId xmlns:a16="http://schemas.microsoft.com/office/drawing/2014/main" id="{F82FC034-4D76-4D3D-A698-8671132292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A0E5BD98-74D7-45F2-91E6-FA905B48179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129" name="Tekstvak 128">
            <a:extLst>
              <a:ext uri="{FF2B5EF4-FFF2-40B4-BE49-F238E27FC236}">
                <a16:creationId xmlns:a16="http://schemas.microsoft.com/office/drawing/2014/main" id="{94165FBE-E5F2-4D0E-A456-ACE5117FB78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19620619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hoek 18">
            <a:extLst>
              <a:ext uri="{FF2B5EF4-FFF2-40B4-BE49-F238E27FC236}">
                <a16:creationId xmlns:a16="http://schemas.microsoft.com/office/drawing/2014/main" id="{0EB0BEF7-7A51-4AF5-B44C-BA4BE5376A4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4" name="Rechthoek 23">
            <a:extLst>
              <a:ext uri="{FF2B5EF4-FFF2-40B4-BE49-F238E27FC236}">
                <a16:creationId xmlns:a16="http://schemas.microsoft.com/office/drawing/2014/main" id="{D524C7BA-8F5A-42D6-96D4-837ADC8E1027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5" name="Vrije vorm: vorm 24">
            <a:extLst>
              <a:ext uri="{FF2B5EF4-FFF2-40B4-BE49-F238E27FC236}">
                <a16:creationId xmlns:a16="http://schemas.microsoft.com/office/drawing/2014/main" id="{6F331268-3885-4EC4-8FE6-B9E4A0B87F6E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9171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hthoek 33">
            <a:extLst>
              <a:ext uri="{FF2B5EF4-FFF2-40B4-BE49-F238E27FC236}">
                <a16:creationId xmlns:a16="http://schemas.microsoft.com/office/drawing/2014/main" id="{87814AB9-41F7-40BF-8647-FDB9040C176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Rechthoek 19">
            <a:extLst>
              <a:ext uri="{FF2B5EF4-FFF2-40B4-BE49-F238E27FC236}">
                <a16:creationId xmlns:a16="http://schemas.microsoft.com/office/drawing/2014/main" id="{0B0AF78A-CFDF-45EA-91E2-CE2CAF4531E8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Vrije vorm: vorm 22">
            <a:extLst>
              <a:ext uri="{FF2B5EF4-FFF2-40B4-BE49-F238E27FC236}">
                <a16:creationId xmlns:a16="http://schemas.microsoft.com/office/drawing/2014/main" id="{772DCC81-64A9-400B-ACBA-F381B6B9AC7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7780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hoek 23">
            <a:extLst>
              <a:ext uri="{FF2B5EF4-FFF2-40B4-BE49-F238E27FC236}">
                <a16:creationId xmlns:a16="http://schemas.microsoft.com/office/drawing/2014/main" id="{292D42E4-7FA5-4464-8B14-81245AAFCA1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8" name="Rechthoek 17">
            <a:extLst>
              <a:ext uri="{FF2B5EF4-FFF2-40B4-BE49-F238E27FC236}">
                <a16:creationId xmlns:a16="http://schemas.microsoft.com/office/drawing/2014/main" id="{42FEBCD2-1C7B-4302-9EC8-66F95A9E7A6C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Vrije vorm: vorm 18">
            <a:extLst>
              <a:ext uri="{FF2B5EF4-FFF2-40B4-BE49-F238E27FC236}">
                <a16:creationId xmlns:a16="http://schemas.microsoft.com/office/drawing/2014/main" id="{1C47139E-D7F4-471E-8A2B-4D1A15BF93B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897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oleObject" Target="../embeddings/oleObject1.bin"/><Relationship Id="rId47" Type="http://schemas.openxmlformats.org/officeDocument/2006/relationships/image" Target="../media/image5.png"/><Relationship Id="rId50" Type="http://schemas.openxmlformats.org/officeDocument/2006/relationships/image" Target="../media/image8.sv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45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7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emf"/><Relationship Id="rId48" Type="http://schemas.openxmlformats.org/officeDocument/2006/relationships/image" Target="../media/image6.sv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4.png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image" Target="../media/image27.jpg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image" Target="../media/image28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730E57-8442-462B-B8B5-CDF9BC41C366}"/>
              </a:ext>
            </a:extLst>
          </p:cNvPr>
          <p:cNvGraphicFramePr>
            <a:graphicFrameLocks noChangeAspect="1"/>
          </p:cNvGraphicFramePr>
          <p:nvPr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346508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532" imgH="530" progId="TCLayout.ActiveDocument.1">
                  <p:embed/>
                </p:oleObj>
              </mc:Choice>
              <mc:Fallback>
                <p:oleObj name="think-cell Slide" r:id="rId42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730E57-8442-462B-B8B5-CDF9BC41C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C8A345FA-29F6-4BBD-B4A4-DD8FAB763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2277"/>
            <a:ext cx="10515600" cy="80770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lvl="0"/>
            <a:r>
              <a:rPr lang="nl-NL" dirty="0"/>
              <a:t>Klik om stijl te bewerken</a:t>
            </a:r>
            <a:endParaRPr lang="en-GB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DFAB4794-4042-4301-9E27-09262F5377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57011"/>
            <a:ext cx="10515600" cy="47199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GB" dirty="0"/>
          </a:p>
        </p:txBody>
      </p:sp>
      <p:sp>
        <p:nvSpPr>
          <p:cNvPr id="22" name="Vrije vorm: vorm 21">
            <a:extLst>
              <a:ext uri="{FF2B5EF4-FFF2-40B4-BE49-F238E27FC236}">
                <a16:creationId xmlns:a16="http://schemas.microsoft.com/office/drawing/2014/main" id="{E95E442C-2180-4EA1-9B7F-83B87714B6D1}"/>
              </a:ext>
            </a:extLst>
          </p:cNvPr>
          <p:cNvSpPr/>
          <p:nvPr/>
        </p:nvSpPr>
        <p:spPr>
          <a:xfrm>
            <a:off x="156422" y="-556815"/>
            <a:ext cx="951430" cy="95143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Rechthoek 22">
            <a:extLst>
              <a:ext uri="{FF2B5EF4-FFF2-40B4-BE49-F238E27FC236}">
                <a16:creationId xmlns:a16="http://schemas.microsoft.com/office/drawing/2014/main" id="{7DC45953-A42E-4822-A553-CF8C4E660C83}"/>
              </a:ext>
            </a:extLst>
          </p:cNvPr>
          <p:cNvSpPr/>
          <p:nvPr/>
        </p:nvSpPr>
        <p:spPr>
          <a:xfrm rot="3657484">
            <a:off x="152287" y="661616"/>
            <a:ext cx="226963" cy="9814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grpSp>
        <p:nvGrpSpPr>
          <p:cNvPr id="30" name="Groep 29">
            <a:extLst>
              <a:ext uri="{FF2B5EF4-FFF2-40B4-BE49-F238E27FC236}">
                <a16:creationId xmlns:a16="http://schemas.microsoft.com/office/drawing/2014/main" id="{D23DDBD4-3D8C-4FE1-87B8-408D0EC0A5D0}"/>
              </a:ext>
            </a:extLst>
          </p:cNvPr>
          <p:cNvGrpSpPr/>
          <p:nvPr/>
        </p:nvGrpSpPr>
        <p:grpSpPr>
          <a:xfrm>
            <a:off x="-4604842" y="254443"/>
            <a:ext cx="4228451" cy="3568234"/>
            <a:chOff x="-3535859" y="1276351"/>
            <a:chExt cx="4228451" cy="3568234"/>
          </a:xfrm>
        </p:grpSpPr>
        <p:sp>
          <p:nvSpPr>
            <p:cNvPr id="33" name="Rechthoek 32">
              <a:extLst>
                <a:ext uri="{FF2B5EF4-FFF2-40B4-BE49-F238E27FC236}">
                  <a16:creationId xmlns:a16="http://schemas.microsoft.com/office/drawing/2014/main" id="{5F3C2A04-787F-4DDA-93B5-9A8F0BECECF1}"/>
                </a:ext>
              </a:extLst>
            </p:cNvPr>
            <p:cNvSpPr/>
            <p:nvPr userDrawn="1"/>
          </p:nvSpPr>
          <p:spPr>
            <a:xfrm>
              <a:off x="-3529258" y="1276351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685783" rtl="0" eaLnBrk="1" fontAlgn="auto" latinLnBrk="0" hangingPunct="1">
                <a:lnSpc>
                  <a:spcPct val="90000"/>
                </a:lnSpc>
                <a:spcBef>
                  <a:spcPts val="751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lang="nl-NL" sz="1800" b="0" i="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ekst niveaus</a:t>
              </a:r>
            </a:p>
          </p:txBody>
        </p:sp>
        <p:sp>
          <p:nvSpPr>
            <p:cNvPr id="34" name="Textfield placeholder">
              <a:extLst>
                <a:ext uri="{FF2B5EF4-FFF2-40B4-BE49-F238E27FC236}">
                  <a16:creationId xmlns:a16="http://schemas.microsoft.com/office/drawing/2014/main" id="{18EF3309-A426-45E8-89F6-76669134A77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3535859" y="2872729"/>
              <a:ext cx="3794626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4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68000" marR="0" lvl="0" indent="-46800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400"/>
                </a:spcAft>
                <a:buClr>
                  <a:schemeClr val="accent2"/>
                </a:buClr>
                <a:buSzPct val="100000"/>
                <a:buFont typeface="Century Gothic" panose="020B0502020202020204" pitchFamily="34" charset="0"/>
                <a:buChar char="▬"/>
                <a:tabLst/>
                <a:defRPr/>
              </a:pPr>
              <a:r>
                <a:rPr lang="nl-NL" sz="24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Eerste niveau (24pt)</a:t>
              </a:r>
            </a:p>
          </p:txBody>
        </p:sp>
        <p:cxnSp>
          <p:nvCxnSpPr>
            <p:cNvPr id="36" name="Rechte verbindingslijn 35">
              <a:extLst>
                <a:ext uri="{FF2B5EF4-FFF2-40B4-BE49-F238E27FC236}">
                  <a16:creationId xmlns:a16="http://schemas.microsoft.com/office/drawing/2014/main" id="{42BA3D0F-2720-4DDA-95BE-5690ACBAAD2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519217" y="2750438"/>
              <a:ext cx="4211809" cy="0"/>
            </a:xfrm>
            <a:prstGeom prst="line">
              <a:avLst/>
            </a:prstGeom>
            <a:noFill/>
            <a:ln w="9525" cap="flat" cmpd="sng" algn="ctr">
              <a:solidFill>
                <a:schemeClr val="accent2"/>
              </a:solidFill>
              <a:prstDash val="solid"/>
            </a:ln>
            <a:effectLst/>
          </p:spPr>
        </p:cxnSp>
        <p:sp>
          <p:nvSpPr>
            <p:cNvPr id="37" name="Rechthoek 36">
              <a:extLst>
                <a:ext uri="{FF2B5EF4-FFF2-40B4-BE49-F238E27FC236}">
                  <a16:creationId xmlns:a16="http://schemas.microsoft.com/office/drawing/2014/main" id="{39ED2A08-9FA1-402A-B29F-B8DBBB2D15E0}"/>
                </a:ext>
              </a:extLst>
            </p:cNvPr>
            <p:cNvSpPr/>
            <p:nvPr/>
          </p:nvSpPr>
          <p:spPr>
            <a:xfrm>
              <a:off x="-3526033" y="2098550"/>
              <a:ext cx="524003" cy="501028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pic>
          <p:nvPicPr>
            <p:cNvPr id="38" name="Picture 2">
              <a:extLst>
                <a:ext uri="{FF2B5EF4-FFF2-40B4-BE49-F238E27FC236}">
                  <a16:creationId xmlns:a16="http://schemas.microsoft.com/office/drawing/2014/main" id="{8ACE70A3-0BC6-451D-A713-263485CC2C7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285599" y="2118058"/>
              <a:ext cx="222649" cy="2054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9" name="Picture 3">
              <a:extLst>
                <a:ext uri="{FF2B5EF4-FFF2-40B4-BE49-F238E27FC236}">
                  <a16:creationId xmlns:a16="http://schemas.microsoft.com/office/drawing/2014/main" id="{A751367F-4AD4-4B50-806D-8369C748EF9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494219" y="2118058"/>
              <a:ext cx="203698" cy="2099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40" name="Rechthoek 39">
              <a:extLst>
                <a:ext uri="{FF2B5EF4-FFF2-40B4-BE49-F238E27FC236}">
                  <a16:creationId xmlns:a16="http://schemas.microsoft.com/office/drawing/2014/main" id="{DC0DBC27-D709-4DD4-B2EA-B78451AB7B3A}"/>
                </a:ext>
              </a:extLst>
            </p:cNvPr>
            <p:cNvSpPr/>
            <p:nvPr/>
          </p:nvSpPr>
          <p:spPr>
            <a:xfrm>
              <a:off x="-3449390" y="2414273"/>
              <a:ext cx="130689" cy="11429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1" name="Rechthoek 40">
              <a:extLst>
                <a:ext uri="{FF2B5EF4-FFF2-40B4-BE49-F238E27FC236}">
                  <a16:creationId xmlns:a16="http://schemas.microsoft.com/office/drawing/2014/main" id="{E4CF6900-111A-400C-84D5-356D5D0B9BFE}"/>
                </a:ext>
              </a:extLst>
            </p:cNvPr>
            <p:cNvSpPr/>
            <p:nvPr/>
          </p:nvSpPr>
          <p:spPr>
            <a:xfrm>
              <a:off x="-3449390" y="2437198"/>
              <a:ext cx="130689" cy="11429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2" name="Rechthoek 41">
              <a:extLst>
                <a:ext uri="{FF2B5EF4-FFF2-40B4-BE49-F238E27FC236}">
                  <a16:creationId xmlns:a16="http://schemas.microsoft.com/office/drawing/2014/main" id="{E7B0494F-75C3-41F1-AC11-A74AA88EBE1E}"/>
                </a:ext>
              </a:extLst>
            </p:cNvPr>
            <p:cNvSpPr/>
            <p:nvPr/>
          </p:nvSpPr>
          <p:spPr>
            <a:xfrm>
              <a:off x="-3449390" y="2483049"/>
              <a:ext cx="130689" cy="11429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C4F9EF3E-52F9-4EC3-BF3A-E154A0AB1CEE}"/>
                </a:ext>
              </a:extLst>
            </p:cNvPr>
            <p:cNvSpPr/>
            <p:nvPr/>
          </p:nvSpPr>
          <p:spPr>
            <a:xfrm>
              <a:off x="-3449390" y="2505976"/>
              <a:ext cx="130689" cy="11429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4" name="Rechthoek 43">
              <a:extLst>
                <a:ext uri="{FF2B5EF4-FFF2-40B4-BE49-F238E27FC236}">
                  <a16:creationId xmlns:a16="http://schemas.microsoft.com/office/drawing/2014/main" id="{AB7389C3-38FC-44D2-A216-25E676343FEF}"/>
                </a:ext>
              </a:extLst>
            </p:cNvPr>
            <p:cNvSpPr/>
            <p:nvPr/>
          </p:nvSpPr>
          <p:spPr>
            <a:xfrm>
              <a:off x="-3449390" y="2460124"/>
              <a:ext cx="130689" cy="11429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grpSp>
          <p:nvGrpSpPr>
            <p:cNvPr id="45" name="Groep 44">
              <a:extLst>
                <a:ext uri="{FF2B5EF4-FFF2-40B4-BE49-F238E27FC236}">
                  <a16:creationId xmlns:a16="http://schemas.microsoft.com/office/drawing/2014/main" id="{D3854F12-BB4A-4CD8-BFA4-365C297CF370}"/>
                </a:ext>
              </a:extLst>
            </p:cNvPr>
            <p:cNvGrpSpPr/>
            <p:nvPr/>
          </p:nvGrpSpPr>
          <p:grpSpPr>
            <a:xfrm>
              <a:off x="-3226194" y="2414273"/>
              <a:ext cx="60967" cy="103132"/>
              <a:chOff x="-2796392" y="1123442"/>
              <a:chExt cx="120832" cy="104889"/>
            </a:xfrm>
          </p:grpSpPr>
          <p:sp>
            <p:nvSpPr>
              <p:cNvPr id="85" name="Rechthoek 84">
                <a:extLst>
                  <a:ext uri="{FF2B5EF4-FFF2-40B4-BE49-F238E27FC236}">
                    <a16:creationId xmlns:a16="http://schemas.microsoft.com/office/drawing/2014/main" id="{B5C5AADE-89DB-401F-98C0-13B9110F1CCE}"/>
                  </a:ext>
                </a:extLst>
              </p:cNvPr>
              <p:cNvSpPr/>
              <p:nvPr/>
            </p:nvSpPr>
            <p:spPr>
              <a:xfrm>
                <a:off x="-2796392" y="1123442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6" name="Rechthoek 85">
                <a:extLst>
                  <a:ext uri="{FF2B5EF4-FFF2-40B4-BE49-F238E27FC236}">
                    <a16:creationId xmlns:a16="http://schemas.microsoft.com/office/drawing/2014/main" id="{3956C632-C740-4B2E-ADBC-CF31FE1770D5}"/>
                  </a:ext>
                </a:extLst>
              </p:cNvPr>
              <p:cNvSpPr/>
              <p:nvPr/>
            </p:nvSpPr>
            <p:spPr>
              <a:xfrm>
                <a:off x="-2796392" y="1146758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7" name="Rechthoek 86">
                <a:extLst>
                  <a:ext uri="{FF2B5EF4-FFF2-40B4-BE49-F238E27FC236}">
                    <a16:creationId xmlns:a16="http://schemas.microsoft.com/office/drawing/2014/main" id="{AB66ACFE-BC63-4FDC-8173-2FAA7BF33666}"/>
                  </a:ext>
                </a:extLst>
              </p:cNvPr>
              <p:cNvSpPr/>
              <p:nvPr/>
            </p:nvSpPr>
            <p:spPr>
              <a:xfrm>
                <a:off x="-2796392" y="1193390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8" name="Rechthoek 87">
                <a:extLst>
                  <a:ext uri="{FF2B5EF4-FFF2-40B4-BE49-F238E27FC236}">
                    <a16:creationId xmlns:a16="http://schemas.microsoft.com/office/drawing/2014/main" id="{9B895C8D-3A6E-4CD9-8D8B-7BBB9DDE3516}"/>
                  </a:ext>
                </a:extLst>
              </p:cNvPr>
              <p:cNvSpPr/>
              <p:nvPr/>
            </p:nvSpPr>
            <p:spPr>
              <a:xfrm>
                <a:off x="-2796392" y="1216707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9" name="Rechthoek 88">
                <a:extLst>
                  <a:ext uri="{FF2B5EF4-FFF2-40B4-BE49-F238E27FC236}">
                    <a16:creationId xmlns:a16="http://schemas.microsoft.com/office/drawing/2014/main" id="{B63AFC5A-7D38-400E-B1F5-6FE951A951AD}"/>
                  </a:ext>
                </a:extLst>
              </p:cNvPr>
              <p:cNvSpPr/>
              <p:nvPr/>
            </p:nvSpPr>
            <p:spPr>
              <a:xfrm>
                <a:off x="-2796392" y="1170074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46" name="Groep 45">
              <a:extLst>
                <a:ext uri="{FF2B5EF4-FFF2-40B4-BE49-F238E27FC236}">
                  <a16:creationId xmlns:a16="http://schemas.microsoft.com/office/drawing/2014/main" id="{1A3CB10B-7A9F-4B66-900D-08A99F1A934F}"/>
                </a:ext>
              </a:extLst>
            </p:cNvPr>
            <p:cNvGrpSpPr/>
            <p:nvPr/>
          </p:nvGrpSpPr>
          <p:grpSpPr>
            <a:xfrm>
              <a:off x="-3155473" y="2414273"/>
              <a:ext cx="60967" cy="103132"/>
              <a:chOff x="-2796392" y="1123442"/>
              <a:chExt cx="120832" cy="104889"/>
            </a:xfrm>
          </p:grpSpPr>
          <p:sp>
            <p:nvSpPr>
              <p:cNvPr id="80" name="Rechthoek 79">
                <a:extLst>
                  <a:ext uri="{FF2B5EF4-FFF2-40B4-BE49-F238E27FC236}">
                    <a16:creationId xmlns:a16="http://schemas.microsoft.com/office/drawing/2014/main" id="{1F6BD51E-C6B5-4A14-B05D-C2AFCD0331C6}"/>
                  </a:ext>
                </a:extLst>
              </p:cNvPr>
              <p:cNvSpPr/>
              <p:nvPr/>
            </p:nvSpPr>
            <p:spPr>
              <a:xfrm>
                <a:off x="-2796392" y="1123442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1" name="Rechthoek 80">
                <a:extLst>
                  <a:ext uri="{FF2B5EF4-FFF2-40B4-BE49-F238E27FC236}">
                    <a16:creationId xmlns:a16="http://schemas.microsoft.com/office/drawing/2014/main" id="{15545EAF-9F72-456F-B31B-2F821635FF07}"/>
                  </a:ext>
                </a:extLst>
              </p:cNvPr>
              <p:cNvSpPr/>
              <p:nvPr/>
            </p:nvSpPr>
            <p:spPr>
              <a:xfrm>
                <a:off x="-2796392" y="1146758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2" name="Rechthoek 81">
                <a:extLst>
                  <a:ext uri="{FF2B5EF4-FFF2-40B4-BE49-F238E27FC236}">
                    <a16:creationId xmlns:a16="http://schemas.microsoft.com/office/drawing/2014/main" id="{7B0D546D-E827-4DB5-BDA2-9231DF0BC1A1}"/>
                  </a:ext>
                </a:extLst>
              </p:cNvPr>
              <p:cNvSpPr/>
              <p:nvPr/>
            </p:nvSpPr>
            <p:spPr>
              <a:xfrm>
                <a:off x="-2796392" y="1193390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3" name="Rechthoek 82">
                <a:extLst>
                  <a:ext uri="{FF2B5EF4-FFF2-40B4-BE49-F238E27FC236}">
                    <a16:creationId xmlns:a16="http://schemas.microsoft.com/office/drawing/2014/main" id="{8FAA656F-5081-43C4-ADE4-81DD3B94DC3F}"/>
                  </a:ext>
                </a:extLst>
              </p:cNvPr>
              <p:cNvSpPr/>
              <p:nvPr/>
            </p:nvSpPr>
            <p:spPr>
              <a:xfrm>
                <a:off x="-2796392" y="1216707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4" name="Rechthoek 83">
                <a:extLst>
                  <a:ext uri="{FF2B5EF4-FFF2-40B4-BE49-F238E27FC236}">
                    <a16:creationId xmlns:a16="http://schemas.microsoft.com/office/drawing/2014/main" id="{112581B2-3D57-414C-82AE-A50E8036F669}"/>
                  </a:ext>
                </a:extLst>
              </p:cNvPr>
              <p:cNvSpPr/>
              <p:nvPr/>
            </p:nvSpPr>
            <p:spPr>
              <a:xfrm>
                <a:off x="-2796392" y="1170074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47" name="Afgeronde rechthoek 69">
              <a:extLst>
                <a:ext uri="{FF2B5EF4-FFF2-40B4-BE49-F238E27FC236}">
                  <a16:creationId xmlns:a16="http://schemas.microsoft.com/office/drawing/2014/main" id="{95E9599E-E20B-40B8-9858-FD2C1F9E7CB5}"/>
                </a:ext>
              </a:extLst>
            </p:cNvPr>
            <p:cNvSpPr/>
            <p:nvPr/>
          </p:nvSpPr>
          <p:spPr>
            <a:xfrm>
              <a:off x="-2613177" y="2233729"/>
              <a:ext cx="313472" cy="324076"/>
            </a:xfrm>
            <a:prstGeom prst="roundRect">
              <a:avLst>
                <a:gd name="adj" fmla="val 10944"/>
              </a:avLst>
            </a:prstGeom>
            <a:solidFill>
              <a:srgbClr val="FFFFFF"/>
            </a:solidFill>
            <a:ln w="127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8" name="Rechthoek 47">
              <a:extLst>
                <a:ext uri="{FF2B5EF4-FFF2-40B4-BE49-F238E27FC236}">
                  <a16:creationId xmlns:a16="http://schemas.microsoft.com/office/drawing/2014/main" id="{42998167-4885-47AB-83E2-FAD43D593FE7}"/>
                </a:ext>
              </a:extLst>
            </p:cNvPr>
            <p:cNvSpPr/>
            <p:nvPr userDrawn="1"/>
          </p:nvSpPr>
          <p:spPr>
            <a:xfrm>
              <a:off x="-2533793" y="2314891"/>
              <a:ext cx="49894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9" name="Rechthoek 48">
              <a:extLst>
                <a:ext uri="{FF2B5EF4-FFF2-40B4-BE49-F238E27FC236}">
                  <a16:creationId xmlns:a16="http://schemas.microsoft.com/office/drawing/2014/main" id="{E380B290-0AAA-4130-8F07-136ED90C2DA4}"/>
                </a:ext>
              </a:extLst>
            </p:cNvPr>
            <p:cNvSpPr/>
            <p:nvPr userDrawn="1"/>
          </p:nvSpPr>
          <p:spPr>
            <a:xfrm>
              <a:off x="-2533793" y="2427071"/>
              <a:ext cx="49894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0" name="Rechthoek 49">
              <a:extLst>
                <a:ext uri="{FF2B5EF4-FFF2-40B4-BE49-F238E27FC236}">
                  <a16:creationId xmlns:a16="http://schemas.microsoft.com/office/drawing/2014/main" id="{8173BF0E-28B7-44D7-8335-397F592AAA28}"/>
                </a:ext>
              </a:extLst>
            </p:cNvPr>
            <p:cNvSpPr/>
            <p:nvPr userDrawn="1"/>
          </p:nvSpPr>
          <p:spPr>
            <a:xfrm>
              <a:off x="-2533793" y="2457830"/>
              <a:ext cx="49894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1" name="Rechthoek 50">
              <a:extLst>
                <a:ext uri="{FF2B5EF4-FFF2-40B4-BE49-F238E27FC236}">
                  <a16:creationId xmlns:a16="http://schemas.microsoft.com/office/drawing/2014/main" id="{304F5F19-B3EB-43A8-936B-486D597B1FA4}"/>
                </a:ext>
              </a:extLst>
            </p:cNvPr>
            <p:cNvSpPr/>
            <p:nvPr userDrawn="1"/>
          </p:nvSpPr>
          <p:spPr>
            <a:xfrm>
              <a:off x="-2463566" y="2314891"/>
              <a:ext cx="110783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2" name="Rechthoek 51">
              <a:extLst>
                <a:ext uri="{FF2B5EF4-FFF2-40B4-BE49-F238E27FC236}">
                  <a16:creationId xmlns:a16="http://schemas.microsoft.com/office/drawing/2014/main" id="{E18B99A6-291B-4A39-91CE-821F95D90633}"/>
                </a:ext>
              </a:extLst>
            </p:cNvPr>
            <p:cNvSpPr/>
            <p:nvPr userDrawn="1"/>
          </p:nvSpPr>
          <p:spPr>
            <a:xfrm>
              <a:off x="-2463566" y="2427071"/>
              <a:ext cx="110783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3" name="Rechthoek 52">
              <a:extLst>
                <a:ext uri="{FF2B5EF4-FFF2-40B4-BE49-F238E27FC236}">
                  <a16:creationId xmlns:a16="http://schemas.microsoft.com/office/drawing/2014/main" id="{4D6D4399-0704-4EAB-A3FB-2098849CF906}"/>
                </a:ext>
              </a:extLst>
            </p:cNvPr>
            <p:cNvSpPr/>
            <p:nvPr userDrawn="1"/>
          </p:nvSpPr>
          <p:spPr>
            <a:xfrm>
              <a:off x="-2463566" y="2457830"/>
              <a:ext cx="19386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4" name="Rechthoek 53">
              <a:extLst>
                <a:ext uri="{FF2B5EF4-FFF2-40B4-BE49-F238E27FC236}">
                  <a16:creationId xmlns:a16="http://schemas.microsoft.com/office/drawing/2014/main" id="{4A8C6C83-38B1-4BFE-BA4E-7707D08FACE1}"/>
                </a:ext>
              </a:extLst>
            </p:cNvPr>
            <p:cNvSpPr/>
            <p:nvPr userDrawn="1"/>
          </p:nvSpPr>
          <p:spPr>
            <a:xfrm>
              <a:off x="-2463566" y="2351512"/>
              <a:ext cx="110783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5" name="Rechthoek 54">
              <a:extLst>
                <a:ext uri="{FF2B5EF4-FFF2-40B4-BE49-F238E27FC236}">
                  <a16:creationId xmlns:a16="http://schemas.microsoft.com/office/drawing/2014/main" id="{28F79BBB-6222-480D-BBCB-246FD50184A4}"/>
                </a:ext>
              </a:extLst>
            </p:cNvPr>
            <p:cNvSpPr/>
            <p:nvPr userDrawn="1"/>
          </p:nvSpPr>
          <p:spPr>
            <a:xfrm>
              <a:off x="-2463566" y="2390191"/>
              <a:ext cx="66123" cy="22844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6" name="Rechthoek 55">
              <a:extLst>
                <a:ext uri="{FF2B5EF4-FFF2-40B4-BE49-F238E27FC236}">
                  <a16:creationId xmlns:a16="http://schemas.microsoft.com/office/drawing/2014/main" id="{57601F41-FEF3-4939-A92F-A6278AEECC78}"/>
                </a:ext>
              </a:extLst>
            </p:cNvPr>
            <p:cNvSpPr/>
            <p:nvPr userDrawn="1"/>
          </p:nvSpPr>
          <p:spPr>
            <a:xfrm>
              <a:off x="-2463566" y="2288938"/>
              <a:ext cx="9693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7" name="Rechthoek 56">
              <a:extLst>
                <a:ext uri="{FF2B5EF4-FFF2-40B4-BE49-F238E27FC236}">
                  <a16:creationId xmlns:a16="http://schemas.microsoft.com/office/drawing/2014/main" id="{9CB5F087-A06A-4054-8B50-084EBF2D22A1}"/>
                </a:ext>
              </a:extLst>
            </p:cNvPr>
            <p:cNvSpPr/>
            <p:nvPr userDrawn="1"/>
          </p:nvSpPr>
          <p:spPr>
            <a:xfrm>
              <a:off x="-2463566" y="2485433"/>
              <a:ext cx="9693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8" name="Vrije vorm 81">
              <a:extLst>
                <a:ext uri="{FF2B5EF4-FFF2-40B4-BE49-F238E27FC236}">
                  <a16:creationId xmlns:a16="http://schemas.microsoft.com/office/drawing/2014/main" id="{4704B8BE-1D4B-459C-81C0-3ABFF4F6E2B8}"/>
                </a:ext>
              </a:extLst>
            </p:cNvPr>
            <p:cNvSpPr/>
            <p:nvPr userDrawn="1"/>
          </p:nvSpPr>
          <p:spPr>
            <a:xfrm>
              <a:off x="-2560099" y="2345784"/>
              <a:ext cx="83088" cy="66075"/>
            </a:xfrm>
            <a:custGeom>
              <a:avLst/>
              <a:gdLst>
                <a:gd name="connsiteX0" fmla="*/ 635000 w 762000"/>
                <a:gd name="connsiteY0" fmla="*/ 0 h 575734"/>
                <a:gd name="connsiteX1" fmla="*/ 482600 w 762000"/>
                <a:gd name="connsiteY1" fmla="*/ 203200 h 575734"/>
                <a:gd name="connsiteX2" fmla="*/ 762000 w 762000"/>
                <a:gd name="connsiteY2" fmla="*/ 203200 h 575734"/>
                <a:gd name="connsiteX3" fmla="*/ 762000 w 762000"/>
                <a:gd name="connsiteY3" fmla="*/ 364067 h 575734"/>
                <a:gd name="connsiteX4" fmla="*/ 482600 w 762000"/>
                <a:gd name="connsiteY4" fmla="*/ 364067 h 575734"/>
                <a:gd name="connsiteX5" fmla="*/ 635000 w 762000"/>
                <a:gd name="connsiteY5" fmla="*/ 575734 h 575734"/>
                <a:gd name="connsiteX6" fmla="*/ 524933 w 762000"/>
                <a:gd name="connsiteY6" fmla="*/ 575734 h 575734"/>
                <a:gd name="connsiteX7" fmla="*/ 0 w 762000"/>
                <a:gd name="connsiteY7" fmla="*/ 313267 h 575734"/>
                <a:gd name="connsiteX8" fmla="*/ 533400 w 762000"/>
                <a:gd name="connsiteY8" fmla="*/ 0 h 575734"/>
                <a:gd name="connsiteX9" fmla="*/ 635000 w 762000"/>
                <a:gd name="connsiteY9" fmla="*/ 0 h 575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62000" h="575734">
                  <a:moveTo>
                    <a:pt x="635000" y="0"/>
                  </a:moveTo>
                  <a:lnTo>
                    <a:pt x="482600" y="203200"/>
                  </a:lnTo>
                  <a:lnTo>
                    <a:pt x="762000" y="203200"/>
                  </a:lnTo>
                  <a:lnTo>
                    <a:pt x="762000" y="364067"/>
                  </a:lnTo>
                  <a:lnTo>
                    <a:pt x="482600" y="364067"/>
                  </a:lnTo>
                  <a:lnTo>
                    <a:pt x="635000" y="575734"/>
                  </a:lnTo>
                  <a:lnTo>
                    <a:pt x="524933" y="575734"/>
                  </a:lnTo>
                  <a:lnTo>
                    <a:pt x="0" y="313267"/>
                  </a:lnTo>
                  <a:lnTo>
                    <a:pt x="533400" y="0"/>
                  </a:lnTo>
                  <a:lnTo>
                    <a:pt x="635000" y="0"/>
                  </a:lnTo>
                  <a:close/>
                </a:path>
              </a:pathLst>
            </a:custGeom>
            <a:solidFill>
              <a:srgbClr val="003C75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cxnSp>
          <p:nvCxnSpPr>
            <p:cNvPr id="59" name="Rechte verbindingslijn 58">
              <a:extLst>
                <a:ext uri="{FF2B5EF4-FFF2-40B4-BE49-F238E27FC236}">
                  <a16:creationId xmlns:a16="http://schemas.microsoft.com/office/drawing/2014/main" id="{B77E465E-4994-4410-BDFB-E74DA9915A43}"/>
                </a:ext>
              </a:extLst>
            </p:cNvPr>
            <p:cNvCxnSpPr>
              <a:cxnSpLocks/>
              <a:stCxn id="39" idx="2"/>
              <a:endCxn id="47" idx="1"/>
            </p:cNvCxnSpPr>
            <p:nvPr/>
          </p:nvCxnSpPr>
          <p:spPr>
            <a:xfrm>
              <a:off x="-3392370" y="2328000"/>
              <a:ext cx="779193" cy="67767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  <a:headEnd type="oval"/>
            </a:ln>
            <a:effectLst/>
          </p:spPr>
        </p:cxnSp>
        <p:cxnSp>
          <p:nvCxnSpPr>
            <p:cNvPr id="60" name="Rechte verbindingslijn 59">
              <a:extLst>
                <a:ext uri="{FF2B5EF4-FFF2-40B4-BE49-F238E27FC236}">
                  <a16:creationId xmlns:a16="http://schemas.microsoft.com/office/drawing/2014/main" id="{2ACA9F2F-7161-4B1B-95F0-773CFC065A9C}"/>
                </a:ext>
              </a:extLst>
            </p:cNvPr>
            <p:cNvCxnSpPr>
              <a:cxnSpLocks/>
              <a:stCxn id="38" idx="3"/>
            </p:cNvCxnSpPr>
            <p:nvPr/>
          </p:nvCxnSpPr>
          <p:spPr>
            <a:xfrm flipV="1">
              <a:off x="-3062950" y="1946509"/>
              <a:ext cx="449773" cy="274265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  <a:headEnd type="oval"/>
            </a:ln>
            <a:effectLst/>
          </p:spPr>
        </p:cxnSp>
        <p:sp>
          <p:nvSpPr>
            <p:cNvPr id="61" name="Textfield placeholder">
              <a:extLst>
                <a:ext uri="{FF2B5EF4-FFF2-40B4-BE49-F238E27FC236}">
                  <a16:creationId xmlns:a16="http://schemas.microsoft.com/office/drawing/2014/main" id="{67612CB7-E152-4146-9333-3571C004D037}"/>
                </a:ext>
              </a:extLst>
            </p:cNvPr>
            <p:cNvSpPr txBox="1">
              <a:spLocks/>
            </p:cNvSpPr>
            <p:nvPr/>
          </p:nvSpPr>
          <p:spPr>
            <a:xfrm>
              <a:off x="-2006299" y="1761809"/>
              <a:ext cx="1233012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4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69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Niveau omhoog</a:t>
              </a:r>
            </a:p>
            <a:p>
              <a:pPr marL="0" marR="0" lvl="0" indent="0" algn="l" defTabSz="10869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Level up</a:t>
              </a:r>
            </a:p>
          </p:txBody>
        </p:sp>
        <p:sp>
          <p:nvSpPr>
            <p:cNvPr id="62" name="Textfield placeholder">
              <a:extLst>
                <a:ext uri="{FF2B5EF4-FFF2-40B4-BE49-F238E27FC236}">
                  <a16:creationId xmlns:a16="http://schemas.microsoft.com/office/drawing/2014/main" id="{B587428E-F5C2-474E-98CF-480220D35364}"/>
                </a:ext>
              </a:extLst>
            </p:cNvPr>
            <p:cNvSpPr txBox="1">
              <a:spLocks/>
            </p:cNvSpPr>
            <p:nvPr/>
          </p:nvSpPr>
          <p:spPr>
            <a:xfrm>
              <a:off x="-2006300" y="2189360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4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69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Niveau omlaag</a:t>
              </a:r>
            </a:p>
            <a:p>
              <a:pPr marL="0" marR="0" lvl="0" indent="0" algn="l" defTabSz="10869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Level down</a:t>
              </a:r>
            </a:p>
          </p:txBody>
        </p:sp>
        <p:sp>
          <p:nvSpPr>
            <p:cNvPr id="64" name="Afgeronde rechthoek 67">
              <a:extLst>
                <a:ext uri="{FF2B5EF4-FFF2-40B4-BE49-F238E27FC236}">
                  <a16:creationId xmlns:a16="http://schemas.microsoft.com/office/drawing/2014/main" id="{43112927-0724-4911-9034-00F2111102C9}"/>
                </a:ext>
              </a:extLst>
            </p:cNvPr>
            <p:cNvSpPr/>
            <p:nvPr/>
          </p:nvSpPr>
          <p:spPr>
            <a:xfrm>
              <a:off x="-3519967" y="1706764"/>
              <a:ext cx="513775" cy="333502"/>
            </a:xfrm>
            <a:prstGeom prst="roundRect">
              <a:avLst>
                <a:gd name="adj" fmla="val 7565"/>
              </a:avLst>
            </a:prstGeom>
            <a:gradFill>
              <a:gsLst>
                <a:gs pos="0">
                  <a:srgbClr val="FFEC8F"/>
                </a:gs>
                <a:gs pos="100000">
                  <a:srgbClr val="FFFFFF"/>
                </a:gs>
              </a:gsLst>
              <a:lin ang="5400000" scaled="0"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65" name="Vrije vorm 68">
              <a:extLst>
                <a:ext uri="{FF2B5EF4-FFF2-40B4-BE49-F238E27FC236}">
                  <a16:creationId xmlns:a16="http://schemas.microsoft.com/office/drawing/2014/main" id="{BAA50536-9DAC-4DE5-9192-7EDE0EE866F1}"/>
                </a:ext>
              </a:extLst>
            </p:cNvPr>
            <p:cNvSpPr/>
            <p:nvPr/>
          </p:nvSpPr>
          <p:spPr>
            <a:xfrm>
              <a:off x="-3526032" y="1748201"/>
              <a:ext cx="519840" cy="297000"/>
            </a:xfrm>
            <a:custGeom>
              <a:avLst/>
              <a:gdLst>
                <a:gd name="connsiteX0" fmla="*/ 55524 w 528695"/>
                <a:gd name="connsiteY0" fmla="*/ 0 h 302059"/>
                <a:gd name="connsiteX1" fmla="*/ 455496 w 528695"/>
                <a:gd name="connsiteY1" fmla="*/ 0 h 302059"/>
                <a:gd name="connsiteX2" fmla="*/ 475205 w 528695"/>
                <a:gd name="connsiteY2" fmla="*/ 19709 h 302059"/>
                <a:gd name="connsiteX3" fmla="*/ 475205 w 528695"/>
                <a:gd name="connsiteY3" fmla="*/ 230056 h 302059"/>
                <a:gd name="connsiteX4" fmla="*/ 516694 w 528695"/>
                <a:gd name="connsiteY4" fmla="*/ 230056 h 302059"/>
                <a:gd name="connsiteX5" fmla="*/ 528695 w 528695"/>
                <a:gd name="connsiteY5" fmla="*/ 242057 h 302059"/>
                <a:gd name="connsiteX6" fmla="*/ 528695 w 528695"/>
                <a:gd name="connsiteY6" fmla="*/ 290058 h 302059"/>
                <a:gd name="connsiteX7" fmla="*/ 516694 w 528695"/>
                <a:gd name="connsiteY7" fmla="*/ 302059 h 302059"/>
                <a:gd name="connsiteX8" fmla="*/ 12001 w 528695"/>
                <a:gd name="connsiteY8" fmla="*/ 302059 h 302059"/>
                <a:gd name="connsiteX9" fmla="*/ 0 w 528695"/>
                <a:gd name="connsiteY9" fmla="*/ 290058 h 302059"/>
                <a:gd name="connsiteX10" fmla="*/ 0 w 528695"/>
                <a:gd name="connsiteY10" fmla="*/ 242057 h 302059"/>
                <a:gd name="connsiteX11" fmla="*/ 12001 w 528695"/>
                <a:gd name="connsiteY11" fmla="*/ 230056 h 302059"/>
                <a:gd name="connsiteX12" fmla="*/ 35815 w 528695"/>
                <a:gd name="connsiteY12" fmla="*/ 230056 h 302059"/>
                <a:gd name="connsiteX13" fmla="*/ 35815 w 528695"/>
                <a:gd name="connsiteY13" fmla="*/ 19709 h 302059"/>
                <a:gd name="connsiteX14" fmla="*/ 55524 w 528695"/>
                <a:gd name="connsiteY14" fmla="*/ 0 h 302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28695" h="302059">
                  <a:moveTo>
                    <a:pt x="55524" y="0"/>
                  </a:moveTo>
                  <a:lnTo>
                    <a:pt x="455496" y="0"/>
                  </a:lnTo>
                  <a:cubicBezTo>
                    <a:pt x="466381" y="0"/>
                    <a:pt x="475205" y="8824"/>
                    <a:pt x="475205" y="19709"/>
                  </a:cubicBezTo>
                  <a:lnTo>
                    <a:pt x="475205" y="230056"/>
                  </a:lnTo>
                  <a:lnTo>
                    <a:pt x="516694" y="230056"/>
                  </a:lnTo>
                  <a:cubicBezTo>
                    <a:pt x="523322" y="230056"/>
                    <a:pt x="528695" y="235429"/>
                    <a:pt x="528695" y="242057"/>
                  </a:cubicBezTo>
                  <a:lnTo>
                    <a:pt x="528695" y="290058"/>
                  </a:lnTo>
                  <a:cubicBezTo>
                    <a:pt x="528695" y="296686"/>
                    <a:pt x="523322" y="302059"/>
                    <a:pt x="516694" y="302059"/>
                  </a:cubicBezTo>
                  <a:lnTo>
                    <a:pt x="12001" y="302059"/>
                  </a:lnTo>
                  <a:cubicBezTo>
                    <a:pt x="5373" y="302059"/>
                    <a:pt x="0" y="296686"/>
                    <a:pt x="0" y="290058"/>
                  </a:cubicBezTo>
                  <a:lnTo>
                    <a:pt x="0" y="242057"/>
                  </a:lnTo>
                  <a:cubicBezTo>
                    <a:pt x="0" y="235429"/>
                    <a:pt x="5373" y="230056"/>
                    <a:pt x="12001" y="230056"/>
                  </a:cubicBezTo>
                  <a:lnTo>
                    <a:pt x="35815" y="230056"/>
                  </a:lnTo>
                  <a:lnTo>
                    <a:pt x="35815" y="19709"/>
                  </a:lnTo>
                  <a:cubicBezTo>
                    <a:pt x="35815" y="8824"/>
                    <a:pt x="44639" y="0"/>
                    <a:pt x="55524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9525" cap="flat" cmpd="sng" algn="ctr">
              <a:solidFill>
                <a:srgbClr val="9DAB99">
                  <a:lumMod val="90000"/>
                </a:srgbClr>
              </a:solidFill>
              <a:prstDash val="solid"/>
            </a:ln>
            <a:effectLst/>
          </p:spPr>
          <p:txBody>
            <a:bodyPr rot="0" spcFirstLastPara="0" vert="horz" wrap="square" lIns="108000" tIns="36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Start</a:t>
              </a:r>
            </a:p>
          </p:txBody>
        </p:sp>
        <p:cxnSp>
          <p:nvCxnSpPr>
            <p:cNvPr id="66" name="Rechte verbindingslijn 65">
              <a:extLst>
                <a:ext uri="{FF2B5EF4-FFF2-40B4-BE49-F238E27FC236}">
                  <a16:creationId xmlns:a16="http://schemas.microsoft.com/office/drawing/2014/main" id="{C3AAF1EA-6F8D-481D-8838-22DBC5413BE7}"/>
                </a:ext>
              </a:extLst>
            </p:cNvPr>
            <p:cNvCxnSpPr>
              <a:cxnSpLocks/>
            </p:cNvCxnSpPr>
            <p:nvPr/>
          </p:nvCxnSpPr>
          <p:spPr>
            <a:xfrm>
              <a:off x="-3521423" y="1600939"/>
              <a:ext cx="4214015" cy="0"/>
            </a:xfrm>
            <a:prstGeom prst="line">
              <a:avLst/>
            </a:prstGeom>
            <a:noFill/>
            <a:ln w="9525" cap="flat" cmpd="sng" algn="ctr">
              <a:solidFill>
                <a:schemeClr val="accent2"/>
              </a:solidFill>
              <a:prstDash val="solid"/>
            </a:ln>
            <a:effectLst/>
          </p:spPr>
        </p:cxnSp>
        <p:grpSp>
          <p:nvGrpSpPr>
            <p:cNvPr id="67" name="Groep 66">
              <a:extLst>
                <a:ext uri="{FF2B5EF4-FFF2-40B4-BE49-F238E27FC236}">
                  <a16:creationId xmlns:a16="http://schemas.microsoft.com/office/drawing/2014/main" id="{DFE0C172-BC2D-4D64-BDB6-CDF2202E72B8}"/>
                </a:ext>
              </a:extLst>
            </p:cNvPr>
            <p:cNvGrpSpPr/>
            <p:nvPr userDrawn="1"/>
          </p:nvGrpSpPr>
          <p:grpSpPr>
            <a:xfrm flipH="1">
              <a:off x="-2613177" y="1836300"/>
              <a:ext cx="313472" cy="324076"/>
              <a:chOff x="-2613177" y="1836300"/>
              <a:chExt cx="313472" cy="324076"/>
            </a:xfrm>
          </p:grpSpPr>
          <p:sp>
            <p:nvSpPr>
              <p:cNvPr id="68" name="Afgeronde rechthoek 69">
                <a:extLst>
                  <a:ext uri="{FF2B5EF4-FFF2-40B4-BE49-F238E27FC236}">
                    <a16:creationId xmlns:a16="http://schemas.microsoft.com/office/drawing/2014/main" id="{61516DF4-C97E-472B-A649-DEF3C006D0D3}"/>
                  </a:ext>
                </a:extLst>
              </p:cNvPr>
              <p:cNvSpPr/>
              <p:nvPr userDrawn="1"/>
            </p:nvSpPr>
            <p:spPr>
              <a:xfrm>
                <a:off x="-2613177" y="1836300"/>
                <a:ext cx="313472" cy="324076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accent1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69" name="Rechthoek 68">
                <a:extLst>
                  <a:ext uri="{FF2B5EF4-FFF2-40B4-BE49-F238E27FC236}">
                    <a16:creationId xmlns:a16="http://schemas.microsoft.com/office/drawing/2014/main" id="{E88D2C4A-19E7-4422-B250-8498F51DA8F7}"/>
                  </a:ext>
                </a:extLst>
              </p:cNvPr>
              <p:cNvSpPr/>
              <p:nvPr userDrawn="1"/>
            </p:nvSpPr>
            <p:spPr>
              <a:xfrm>
                <a:off x="-2533793" y="1917462"/>
                <a:ext cx="49894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A5208688-A8E9-4B12-BD22-7E21B50E632F}"/>
                  </a:ext>
                </a:extLst>
              </p:cNvPr>
              <p:cNvSpPr/>
              <p:nvPr userDrawn="1"/>
            </p:nvSpPr>
            <p:spPr>
              <a:xfrm>
                <a:off x="-2533793" y="2029642"/>
                <a:ext cx="49894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1" name="Rechthoek 70">
                <a:extLst>
                  <a:ext uri="{FF2B5EF4-FFF2-40B4-BE49-F238E27FC236}">
                    <a16:creationId xmlns:a16="http://schemas.microsoft.com/office/drawing/2014/main" id="{C1EC612B-15F0-4635-A1FD-033A04B859B5}"/>
                  </a:ext>
                </a:extLst>
              </p:cNvPr>
              <p:cNvSpPr/>
              <p:nvPr userDrawn="1"/>
            </p:nvSpPr>
            <p:spPr>
              <a:xfrm>
                <a:off x="-2533793" y="2060401"/>
                <a:ext cx="49894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2" name="Rechthoek 71">
                <a:extLst>
                  <a:ext uri="{FF2B5EF4-FFF2-40B4-BE49-F238E27FC236}">
                    <a16:creationId xmlns:a16="http://schemas.microsoft.com/office/drawing/2014/main" id="{424D998B-A988-4F8D-8B18-3037CE5FE02A}"/>
                  </a:ext>
                </a:extLst>
              </p:cNvPr>
              <p:cNvSpPr/>
              <p:nvPr userDrawn="1"/>
            </p:nvSpPr>
            <p:spPr>
              <a:xfrm>
                <a:off x="-2463566" y="1917462"/>
                <a:ext cx="110783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3" name="Rechthoek 72">
                <a:extLst>
                  <a:ext uri="{FF2B5EF4-FFF2-40B4-BE49-F238E27FC236}">
                    <a16:creationId xmlns:a16="http://schemas.microsoft.com/office/drawing/2014/main" id="{9892A9BE-4BF8-419B-9D77-7D83C0A1FB6D}"/>
                  </a:ext>
                </a:extLst>
              </p:cNvPr>
              <p:cNvSpPr/>
              <p:nvPr userDrawn="1"/>
            </p:nvSpPr>
            <p:spPr>
              <a:xfrm>
                <a:off x="-2463566" y="2029642"/>
                <a:ext cx="110783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C45066B9-85D1-42C4-BAB7-65B5653794A9}"/>
                  </a:ext>
                </a:extLst>
              </p:cNvPr>
              <p:cNvSpPr/>
              <p:nvPr userDrawn="1"/>
            </p:nvSpPr>
            <p:spPr>
              <a:xfrm>
                <a:off x="-2463566" y="2060401"/>
                <a:ext cx="19386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5" name="Rechthoek 74">
                <a:extLst>
                  <a:ext uri="{FF2B5EF4-FFF2-40B4-BE49-F238E27FC236}">
                    <a16:creationId xmlns:a16="http://schemas.microsoft.com/office/drawing/2014/main" id="{D509E1D1-2E87-42B0-8ED4-3639463FD97A}"/>
                  </a:ext>
                </a:extLst>
              </p:cNvPr>
              <p:cNvSpPr/>
              <p:nvPr userDrawn="1"/>
            </p:nvSpPr>
            <p:spPr>
              <a:xfrm>
                <a:off x="-2463566" y="1954083"/>
                <a:ext cx="110783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6" name="Rechthoek 75">
                <a:extLst>
                  <a:ext uri="{FF2B5EF4-FFF2-40B4-BE49-F238E27FC236}">
                    <a16:creationId xmlns:a16="http://schemas.microsoft.com/office/drawing/2014/main" id="{4142553F-BC77-45ED-9F88-13220EF1112E}"/>
                  </a:ext>
                </a:extLst>
              </p:cNvPr>
              <p:cNvSpPr/>
              <p:nvPr userDrawn="1"/>
            </p:nvSpPr>
            <p:spPr>
              <a:xfrm>
                <a:off x="-2463566" y="1992762"/>
                <a:ext cx="66123" cy="2284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7" name="Rechthoek 76">
                <a:extLst>
                  <a:ext uri="{FF2B5EF4-FFF2-40B4-BE49-F238E27FC236}">
                    <a16:creationId xmlns:a16="http://schemas.microsoft.com/office/drawing/2014/main" id="{B6166E0B-26D8-438C-8884-DB863EE2C2F8}"/>
                  </a:ext>
                </a:extLst>
              </p:cNvPr>
              <p:cNvSpPr/>
              <p:nvPr userDrawn="1"/>
            </p:nvSpPr>
            <p:spPr>
              <a:xfrm>
                <a:off x="-2463566" y="1891509"/>
                <a:ext cx="9693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98D98984-474F-42C2-A901-161A291E73A7}"/>
                  </a:ext>
                </a:extLst>
              </p:cNvPr>
              <p:cNvSpPr/>
              <p:nvPr userDrawn="1"/>
            </p:nvSpPr>
            <p:spPr>
              <a:xfrm>
                <a:off x="-2463566" y="2088004"/>
                <a:ext cx="9693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9" name="Vrije vorm 81">
                <a:extLst>
                  <a:ext uri="{FF2B5EF4-FFF2-40B4-BE49-F238E27FC236}">
                    <a16:creationId xmlns:a16="http://schemas.microsoft.com/office/drawing/2014/main" id="{972FCEFD-2131-4886-AB26-47210906AA6B}"/>
                  </a:ext>
                </a:extLst>
              </p:cNvPr>
              <p:cNvSpPr/>
              <p:nvPr userDrawn="1"/>
            </p:nvSpPr>
            <p:spPr>
              <a:xfrm>
                <a:off x="-2560099" y="1948355"/>
                <a:ext cx="83088" cy="66075"/>
              </a:xfrm>
              <a:custGeom>
                <a:avLst/>
                <a:gdLst>
                  <a:gd name="connsiteX0" fmla="*/ 635000 w 762000"/>
                  <a:gd name="connsiteY0" fmla="*/ 0 h 575734"/>
                  <a:gd name="connsiteX1" fmla="*/ 482600 w 762000"/>
                  <a:gd name="connsiteY1" fmla="*/ 203200 h 575734"/>
                  <a:gd name="connsiteX2" fmla="*/ 762000 w 762000"/>
                  <a:gd name="connsiteY2" fmla="*/ 203200 h 575734"/>
                  <a:gd name="connsiteX3" fmla="*/ 762000 w 762000"/>
                  <a:gd name="connsiteY3" fmla="*/ 364067 h 575734"/>
                  <a:gd name="connsiteX4" fmla="*/ 482600 w 762000"/>
                  <a:gd name="connsiteY4" fmla="*/ 364067 h 575734"/>
                  <a:gd name="connsiteX5" fmla="*/ 635000 w 762000"/>
                  <a:gd name="connsiteY5" fmla="*/ 575734 h 575734"/>
                  <a:gd name="connsiteX6" fmla="*/ 524933 w 762000"/>
                  <a:gd name="connsiteY6" fmla="*/ 575734 h 575734"/>
                  <a:gd name="connsiteX7" fmla="*/ 0 w 762000"/>
                  <a:gd name="connsiteY7" fmla="*/ 313267 h 575734"/>
                  <a:gd name="connsiteX8" fmla="*/ 533400 w 762000"/>
                  <a:gd name="connsiteY8" fmla="*/ 0 h 575734"/>
                  <a:gd name="connsiteX9" fmla="*/ 635000 w 762000"/>
                  <a:gd name="connsiteY9" fmla="*/ 0 h 575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62000" h="575734">
                    <a:moveTo>
                      <a:pt x="635000" y="0"/>
                    </a:moveTo>
                    <a:lnTo>
                      <a:pt x="482600" y="203200"/>
                    </a:lnTo>
                    <a:lnTo>
                      <a:pt x="762000" y="203200"/>
                    </a:lnTo>
                    <a:lnTo>
                      <a:pt x="762000" y="364067"/>
                    </a:lnTo>
                    <a:lnTo>
                      <a:pt x="482600" y="364067"/>
                    </a:lnTo>
                    <a:lnTo>
                      <a:pt x="635000" y="575734"/>
                    </a:lnTo>
                    <a:lnTo>
                      <a:pt x="524933" y="575734"/>
                    </a:lnTo>
                    <a:lnTo>
                      <a:pt x="0" y="313267"/>
                    </a:lnTo>
                    <a:lnTo>
                      <a:pt x="533400" y="0"/>
                    </a:lnTo>
                    <a:lnTo>
                      <a:pt x="635000" y="0"/>
                    </a:lnTo>
                    <a:close/>
                  </a:path>
                </a:pathLst>
              </a:custGeom>
              <a:solidFill>
                <a:srgbClr val="003C75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20" name="Textfield placeholder">
              <a:extLst>
                <a:ext uri="{FF2B5EF4-FFF2-40B4-BE49-F238E27FC236}">
                  <a16:creationId xmlns:a16="http://schemas.microsoft.com/office/drawing/2014/main" id="{BB5A74E4-367F-436A-88AF-4EECA39C9AD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3341553" y="3300318"/>
              <a:ext cx="3794626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4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696600" marR="0" lvl="1" indent="-46800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400"/>
                </a:spcAft>
                <a:buClr>
                  <a:schemeClr val="accent2"/>
                </a:buClr>
                <a:buSzPct val="100000"/>
                <a:buFont typeface="Century Gothic" panose="020B0502020202020204" pitchFamily="34" charset="0"/>
                <a:buChar char="▬"/>
                <a:tabLst/>
                <a:defRPr/>
              </a:pPr>
              <a:r>
                <a:rPr lang="nl-NL" sz="20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weede niveau (20pt)</a:t>
              </a:r>
            </a:p>
          </p:txBody>
        </p:sp>
        <p:sp>
          <p:nvSpPr>
            <p:cNvPr id="121" name="Textfield placeholder">
              <a:extLst>
                <a:ext uri="{FF2B5EF4-FFF2-40B4-BE49-F238E27FC236}">
                  <a16:creationId xmlns:a16="http://schemas.microsoft.com/office/drawing/2014/main" id="{3F53EC3E-915F-4E09-B4B0-13AD082172B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3070129" y="3727907"/>
              <a:ext cx="3762721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4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864875" marR="0" lvl="2" indent="-46800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400"/>
                </a:spcAft>
                <a:buClr>
                  <a:schemeClr val="accent2"/>
                </a:buClr>
                <a:buSzPct val="100000"/>
                <a:buFont typeface="Century Gothic" panose="020B0502020202020204" pitchFamily="34" charset="0"/>
                <a:buChar char="▬"/>
                <a:tabLst/>
                <a:defRPr/>
              </a:pPr>
              <a:r>
                <a:rPr lang="nl-NL" sz="18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Derde niveau (18pt)</a:t>
              </a:r>
            </a:p>
          </p:txBody>
        </p:sp>
        <p:sp>
          <p:nvSpPr>
            <p:cNvPr id="122" name="Textfield placeholder">
              <a:extLst>
                <a:ext uri="{FF2B5EF4-FFF2-40B4-BE49-F238E27FC236}">
                  <a16:creationId xmlns:a16="http://schemas.microsoft.com/office/drawing/2014/main" id="{4B3DBD31-4DBA-4FA8-8E47-CD6FDC06EF1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613177" y="4155496"/>
              <a:ext cx="3305769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4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864875" marR="0" lvl="2" indent="-46800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400"/>
                </a:spcAft>
                <a:buClr>
                  <a:schemeClr val="accent2"/>
                </a:buClr>
                <a:buSzPct val="100000"/>
                <a:buFont typeface="Century Gothic" panose="020B0502020202020204" pitchFamily="34" charset="0"/>
                <a:buChar char="▬"/>
                <a:tabLst/>
                <a:defRPr/>
              </a:pPr>
              <a:r>
                <a:rPr lang="nl-NL" sz="16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Vierde niveau (16pt)</a:t>
              </a:r>
            </a:p>
          </p:txBody>
        </p:sp>
        <p:sp>
          <p:nvSpPr>
            <p:cNvPr id="123" name="Textfield placeholder">
              <a:extLst>
                <a:ext uri="{FF2B5EF4-FFF2-40B4-BE49-F238E27FC236}">
                  <a16:creationId xmlns:a16="http://schemas.microsoft.com/office/drawing/2014/main" id="{6FB8D7E3-9F3D-4EF0-9C8A-088786311FC0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188113" y="4583085"/>
              <a:ext cx="2880705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4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864875" marR="0" lvl="2" indent="-46800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400"/>
                </a:spcAft>
                <a:buClr>
                  <a:schemeClr val="accent2"/>
                </a:buClr>
                <a:buSzPct val="100000"/>
                <a:buFont typeface="Century Gothic" panose="020B0502020202020204" pitchFamily="34" charset="0"/>
                <a:buChar char="▬"/>
                <a:tabLst/>
                <a:defRPr/>
              </a:pPr>
              <a:r>
                <a:rPr lang="nl-NL" sz="16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Vijfde niveau (16pt)</a:t>
              </a:r>
            </a:p>
          </p:txBody>
        </p:sp>
      </p:grpSp>
      <p:sp>
        <p:nvSpPr>
          <p:cNvPr id="7" name="Tijdelijke aanduiding voor voettekst 6">
            <a:extLst>
              <a:ext uri="{FF2B5EF4-FFF2-40B4-BE49-F238E27FC236}">
                <a16:creationId xmlns:a16="http://schemas.microsoft.com/office/drawing/2014/main" id="{216624FE-7E7B-417B-954A-44EECD185F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BE"/>
          </a:p>
        </p:txBody>
      </p:sp>
      <p:sp>
        <p:nvSpPr>
          <p:cNvPr id="8" name="Tijdelijke aanduiding voor dianummer 7">
            <a:extLst>
              <a:ext uri="{FF2B5EF4-FFF2-40B4-BE49-F238E27FC236}">
                <a16:creationId xmlns:a16="http://schemas.microsoft.com/office/drawing/2014/main" id="{81637484-A90B-4745-B275-9C1F0E1055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8DDC52-3C64-406E-BCE8-D7C430F2E0B7}" type="slidenum">
              <a:rPr lang="nl-BE" smtClean="0"/>
              <a:t>‹#›</a:t>
            </a:fld>
            <a:endParaRPr lang="nl-BE"/>
          </a:p>
        </p:txBody>
      </p:sp>
      <p:sp>
        <p:nvSpPr>
          <p:cNvPr id="124" name="Rechthoek 123">
            <a:extLst>
              <a:ext uri="{FF2B5EF4-FFF2-40B4-BE49-F238E27FC236}">
                <a16:creationId xmlns:a16="http://schemas.microsoft.com/office/drawing/2014/main" id="{F7DE521A-FD28-4674-8870-99C9719D9BA8}"/>
              </a:ext>
            </a:extLst>
          </p:cNvPr>
          <p:cNvSpPr/>
          <p:nvPr/>
        </p:nvSpPr>
        <p:spPr>
          <a:xfrm>
            <a:off x="12580194" y="352036"/>
            <a:ext cx="4366686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ttekst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anpass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van de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esentati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1606B710-69A2-4620-9154-26E4E739F958}"/>
              </a:ext>
            </a:extLst>
          </p:cNvPr>
          <p:cNvCxnSpPr>
            <a:cxnSpLocks/>
          </p:cNvCxnSpPr>
          <p:nvPr/>
        </p:nvCxnSpPr>
        <p:spPr>
          <a:xfrm>
            <a:off x="12753530" y="631447"/>
            <a:ext cx="3627293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6" name="Tekstvak 125">
            <a:extLst>
              <a:ext uri="{FF2B5EF4-FFF2-40B4-BE49-F238E27FC236}">
                <a16:creationId xmlns:a16="http://schemas.microsoft.com/office/drawing/2014/main" id="{17A1C232-30B9-4B07-8AB1-FC3713EAA6F3}"/>
              </a:ext>
            </a:extLst>
          </p:cNvPr>
          <p:cNvSpPr txBox="1"/>
          <p:nvPr/>
        </p:nvSpPr>
        <p:spPr>
          <a:xfrm>
            <a:off x="12753526" y="731927"/>
            <a:ext cx="2877725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Invoegen &gt;  Groep tekst &gt; Koptekst en voettekst &gt; titel instellen bij voettekst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Inser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 &gt;  Group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tex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Header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nd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footer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Set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title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at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footer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127" name="Rechthoek 126">
            <a:extLst>
              <a:ext uri="{FF2B5EF4-FFF2-40B4-BE49-F238E27FC236}">
                <a16:creationId xmlns:a16="http://schemas.microsoft.com/office/drawing/2014/main" id="{595DBF75-C33F-4774-8827-9E0A498545CE}"/>
              </a:ext>
            </a:extLst>
          </p:cNvPr>
          <p:cNvSpPr/>
          <p:nvPr/>
        </p:nvSpPr>
        <p:spPr>
          <a:xfrm>
            <a:off x="12589536" y="1861361"/>
            <a:ext cx="2868384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conen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8" name="Rechte verbindingslijn 127">
            <a:extLst>
              <a:ext uri="{FF2B5EF4-FFF2-40B4-BE49-F238E27FC236}">
                <a16:creationId xmlns:a16="http://schemas.microsoft.com/office/drawing/2014/main" id="{D74EB6B8-DB92-4985-BEEC-A404250CE3BD}"/>
              </a:ext>
            </a:extLst>
          </p:cNvPr>
          <p:cNvCxnSpPr>
            <a:cxnSpLocks/>
          </p:cNvCxnSpPr>
          <p:nvPr/>
        </p:nvCxnSpPr>
        <p:spPr>
          <a:xfrm>
            <a:off x="12762872" y="2119801"/>
            <a:ext cx="3617951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9" name="Tekstvak 128">
            <a:extLst>
              <a:ext uri="{FF2B5EF4-FFF2-40B4-BE49-F238E27FC236}">
                <a16:creationId xmlns:a16="http://schemas.microsoft.com/office/drawing/2014/main" id="{BD41E6CE-F692-4727-823E-4195EF1427C4}"/>
              </a:ext>
            </a:extLst>
          </p:cNvPr>
          <p:cNvSpPr txBox="1"/>
          <p:nvPr/>
        </p:nvSpPr>
        <p:spPr>
          <a:xfrm>
            <a:off x="12762868" y="2189940"/>
            <a:ext cx="3617950" cy="130687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iconen in te voegen, kopieer je ze van de laatste slide, selecteer je het vakje waar het moet komen en druk je CTRL+V.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Kleuren aanpass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Icoon selecteren &gt; lint bovenaan &gt; vormcontour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F </a:t>
            </a:r>
            <a:r>
              <a:rPr kumimoji="0" lang="nl-BE" sz="1100" b="0" i="0" u="none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Icoon selecteren &gt; rechtermuisknop &gt; vormcontour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icon &gt; lint bovenaan &gt; 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hape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contour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R </a:t>
            </a:r>
            <a:r>
              <a:rPr kumimoji="0" lang="nl-BE" sz="1100" b="0" i="0" u="none" strike="noStrike" kern="0" cap="none" spc="0" normalizeH="0" baseline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 icon &gt; rechtermuisknop &gt; </a:t>
            </a:r>
            <a:r>
              <a:rPr kumimoji="0" lang="nl-BE" sz="1100" b="0" i="0" u="none" strike="noStrike" kern="0" cap="none" spc="0" normalizeH="0" baseline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hape</a:t>
            </a:r>
            <a:r>
              <a:rPr kumimoji="0" lang="nl-BE" sz="1100" b="0" i="0" u="none" strike="noStrike" kern="0" cap="none" spc="0" normalizeH="0" baseline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contour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</p:txBody>
      </p:sp>
      <p:pic>
        <p:nvPicPr>
          <p:cNvPr id="90" name="Graphic 89">
            <a:extLst>
              <a:ext uri="{FF2B5EF4-FFF2-40B4-BE49-F238E27FC236}">
                <a16:creationId xmlns:a16="http://schemas.microsoft.com/office/drawing/2014/main" id="{515D763A-B394-4593-A8EB-D92117ECA1B4}"/>
              </a:ext>
            </a:extLst>
          </p:cNvPr>
          <p:cNvPicPr>
            <a:picLocks noChangeAspect="1"/>
          </p:cNvPicPr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8"/>
              </a:ext>
            </a:extLst>
          </a:blip>
          <a:srcRect/>
          <a:stretch/>
        </p:blipFill>
        <p:spPr>
          <a:xfrm>
            <a:off x="11442114" y="463348"/>
            <a:ext cx="593464" cy="283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06959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GB" sz="4400" b="0" kern="1200" dirty="0" smtClean="0"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  <a:latin typeface="+mj-lt"/>
          <a:ea typeface="+mj-ea"/>
          <a:cs typeface="+mj-cs"/>
        </a:defRPr>
      </a:lvl1pPr>
    </p:titleStyle>
    <p:bodyStyle>
      <a:lvl1pPr marL="468000" indent="-46800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Tx/>
        <a:buBlip>
          <a:blip r:embed="rId49">
            <a:extLst>
              <a:ext uri="{96DAC541-7B7A-43D3-8B79-37D633B846F1}">
                <asvg:svgBlip xmlns:asvg="http://schemas.microsoft.com/office/drawing/2016/SVG/main" r:embed="rId50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900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49">
            <a:extLst>
              <a:ext uri="{96DAC541-7B7A-43D3-8B79-37D633B846F1}">
                <asvg:svgBlip xmlns:asvg="http://schemas.microsoft.com/office/drawing/2016/SVG/main" r:embed="rId50"/>
              </a:ext>
            </a:extLst>
          </a:blip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332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49">
            <a:extLst>
              <a:ext uri="{96DAC541-7B7A-43D3-8B79-37D633B846F1}">
                <asvg:svgBlip xmlns:asvg="http://schemas.microsoft.com/office/drawing/2016/SVG/main" r:embed="rId50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764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49">
            <a:extLst>
              <a:ext uri="{96DAC541-7B7A-43D3-8B79-37D633B846F1}">
                <asvg:svgBlip xmlns:asvg="http://schemas.microsoft.com/office/drawing/2016/SVG/main" r:embed="rId50"/>
              </a:ext>
            </a:extLst>
          </a:blip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196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49">
            <a:extLst>
              <a:ext uri="{96DAC541-7B7A-43D3-8B79-37D633B846F1}">
                <asvg:svgBlip xmlns:asvg="http://schemas.microsoft.com/office/drawing/2016/SVG/main" r:embed="rId50"/>
              </a:ext>
            </a:extLst>
          </a:blip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25CA961-7D2F-4673-AC4D-EA8B592AA8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4C070C-435D-4A23-AB78-F115A7B30F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733FC9C-CCE5-4885-A394-35A1D463993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64BDE1A-9F93-4560-B942-869CF46E25EE}" type="datetimeFigureOut">
              <a:rPr lang="en-GB" smtClean="0"/>
              <a:t>21/05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C4EADA-6759-4F46-B7DC-8C371ED70E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E5D2D9-889F-414A-84F5-CC9F69BEB5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CDE0DE0-89F3-4FD9-B0B2-339554AA82DF}" type="slidenum">
              <a:rPr lang="en-GB" smtClean="0"/>
              <a:t>‹#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F9B6BB3-EBDA-449C-9C78-C6749C2B7163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 descr="Logo&#10;&#10;Description automatically generated with low confidence">
            <a:extLst>
              <a:ext uri="{FF2B5EF4-FFF2-40B4-BE49-F238E27FC236}">
                <a16:creationId xmlns:a16="http://schemas.microsoft.com/office/drawing/2014/main" id="{5FE3A772-715A-4B12-8EEF-024E03942787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0915650" y="109863"/>
            <a:ext cx="1233999" cy="237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5775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49.jpe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55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jp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64.svg"/><Relationship Id="rId4" Type="http://schemas.openxmlformats.org/officeDocument/2006/relationships/image" Target="../media/image6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sv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72.png"/><Relationship Id="rId5" Type="http://schemas.openxmlformats.org/officeDocument/2006/relationships/image" Target="../media/image71.svg"/><Relationship Id="rId4" Type="http://schemas.openxmlformats.org/officeDocument/2006/relationships/image" Target="../media/image70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75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sv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2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sv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20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20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3" Type="http://schemas.openxmlformats.org/officeDocument/2006/relationships/image" Target="../media/image77.svg"/><Relationship Id="rId7" Type="http://schemas.openxmlformats.org/officeDocument/2006/relationships/image" Target="../media/image83.svg"/><Relationship Id="rId12" Type="http://schemas.openxmlformats.org/officeDocument/2006/relationships/image" Target="../media/image88.sv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82.png"/><Relationship Id="rId11" Type="http://schemas.openxmlformats.org/officeDocument/2006/relationships/image" Target="../media/image87.png"/><Relationship Id="rId5" Type="http://schemas.openxmlformats.org/officeDocument/2006/relationships/image" Target="../media/image81.svg"/><Relationship Id="rId10" Type="http://schemas.openxmlformats.org/officeDocument/2006/relationships/image" Target="../media/image86.png"/><Relationship Id="rId4" Type="http://schemas.openxmlformats.org/officeDocument/2006/relationships/image" Target="../media/image80.png"/><Relationship Id="rId9" Type="http://schemas.openxmlformats.org/officeDocument/2006/relationships/image" Target="../media/image85.sv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20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20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20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20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be.com/watch?v=Fct1dcZMyWs" TargetMode="External"/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38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00.pn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20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hyperlink" Target="https://andyleonard.blog/" TargetMode="External"/><Relationship Id="rId2" Type="http://schemas.openxmlformats.org/officeDocument/2006/relationships/hyperlink" Target="https://www.cathrinewilhelmsen.net/series/beginners-guide-azure-data-factory/" TargetMode="External"/><Relationship Id="rId1" Type="http://schemas.openxmlformats.org/officeDocument/2006/relationships/slideLayout" Target="../slideLayouts/slideLayout19.xml"/><Relationship Id="rId6" Type="http://schemas.openxmlformats.org/officeDocument/2006/relationships/hyperlink" Target="https://www.mssqltips.com/sqlservertutorial/9392/introduction-to-azure-data-factory/" TargetMode="External"/><Relationship Id="rId5" Type="http://schemas.openxmlformats.org/officeDocument/2006/relationships/hyperlink" Target="https://www.mssqltips.com/sql-server-tip-category/245/azure-data-factory/" TargetMode="External"/><Relationship Id="rId4" Type="http://schemas.openxmlformats.org/officeDocument/2006/relationships/hyperlink" Target="https://mrpaulandrew.com/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209184-F6FF-421D-8508-43182A3C38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5596" y="2178698"/>
            <a:ext cx="9144000" cy="2387600"/>
          </a:xfrm>
        </p:spPr>
        <p:txBody>
          <a:bodyPr/>
          <a:lstStyle/>
          <a:p>
            <a:r>
              <a:rPr lang="en-US" dirty="0"/>
              <a:t>Introduction to Azure Data Factory</a:t>
            </a:r>
            <a:endParaRPr lang="en-B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B639549-6A81-4356-BF19-DD0F760588C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5596" y="4504792"/>
            <a:ext cx="9144000" cy="1655762"/>
          </a:xfrm>
        </p:spPr>
        <p:txBody>
          <a:bodyPr/>
          <a:lstStyle/>
          <a:p>
            <a:r>
              <a:rPr lang="en-US" dirty="0"/>
              <a:t>Koen Verbeeck</a:t>
            </a:r>
            <a:endParaRPr lang="en-BE" dirty="0"/>
          </a:p>
        </p:txBody>
      </p:sp>
    </p:spTree>
    <p:extLst>
      <p:ext uri="{BB962C8B-B14F-4D97-AF65-F5344CB8AC3E}">
        <p14:creationId xmlns:p14="http://schemas.microsoft.com/office/powerpoint/2010/main" val="1465020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30B25E8-65B9-4D76-ABEF-D4D1D4BC292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8174568" cy="3015766"/>
          </a:xfrm>
        </p:spPr>
        <p:txBody>
          <a:bodyPr>
            <a:normAutofit/>
          </a:bodyPr>
          <a:lstStyle/>
          <a:p>
            <a:r>
              <a:rPr lang="en-US" sz="8800" dirty="0"/>
              <a:t>some terminology</a:t>
            </a:r>
            <a:endParaRPr lang="nl-BE" sz="8800" dirty="0"/>
          </a:p>
        </p:txBody>
      </p:sp>
    </p:spTree>
    <p:extLst>
      <p:ext uri="{BB962C8B-B14F-4D97-AF65-F5344CB8AC3E}">
        <p14:creationId xmlns:p14="http://schemas.microsoft.com/office/powerpoint/2010/main" val="35091476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4B0E3D4-8082-427F-90A5-FE1D732E5F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ipeline</a:t>
            </a:r>
            <a:endParaRPr lang="nl-BE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9490285-7356-497A-B8CE-2162ACF44D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427950"/>
            <a:ext cx="12192000" cy="2002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52556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5C49EF-DC1E-4214-92F9-3A70FA205E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tivities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0B9BB35-4FF5-4283-BF55-8568F0BF57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7492" y="1185657"/>
            <a:ext cx="2116015" cy="567234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7F77FBC-6066-4F7F-AF20-7B22C2B668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52330" y="482277"/>
            <a:ext cx="1898036" cy="611489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5092313-82F3-4012-99FF-703D72AB864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49190" y="583039"/>
            <a:ext cx="2103190" cy="579268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DE343F9-2BB7-4094-842C-AC24FD5DA61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51204" y="1955446"/>
            <a:ext cx="1707028" cy="2118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46242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1B217C-A79F-409C-9930-30FA7FAA75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tivities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C5920A2-CD70-4428-9988-4757F0B0AF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7743" y="1618295"/>
            <a:ext cx="4582104" cy="247740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D417D4B-2C16-4270-B9B3-6993DA291F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88419" y="3763175"/>
            <a:ext cx="7678881" cy="2477405"/>
          </a:xfrm>
          <a:prstGeom prst="rect">
            <a:avLst/>
          </a:prstGeom>
        </p:spPr>
      </p:pic>
      <p:pic>
        <p:nvPicPr>
          <p:cNvPr id="12290" name="Picture 2" descr="yeah.... nope. - Willy Wonka | Meme Generator">
            <a:extLst>
              <a:ext uri="{FF2B5EF4-FFF2-40B4-BE49-F238E27FC236}">
                <a16:creationId xmlns:a16="http://schemas.microsoft.com/office/drawing/2014/main" id="{144069A3-23C1-4F21-96F3-C35DDEB549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4139" y="328247"/>
            <a:ext cx="2942492" cy="2942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087628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2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3A86DD-F086-4298-BB14-42F71F0DCE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py activity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C498F0E-BB5D-42CD-92BB-03DDD653D2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46635" y="1601156"/>
            <a:ext cx="7498730" cy="4968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194702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3A86DD-F086-4298-BB14-42F71F0DCE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py activity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CDBFA6E-25CF-48B9-B85B-15329CCB09B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35584"/>
          <a:stretch/>
        </p:blipFill>
        <p:spPr>
          <a:xfrm>
            <a:off x="397438" y="1842415"/>
            <a:ext cx="4403357" cy="405429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6000A0A-4062-4755-AE60-133433A47F2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62038" y="3002868"/>
            <a:ext cx="6631803" cy="1733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351610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8567B8-E257-4D8E-A2B8-8FC9E95FF1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nked service</a:t>
            </a:r>
            <a:endParaRPr lang="nl-B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F763203-6969-40DC-B9E9-127016AADC1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points to a certain data location</a:t>
            </a:r>
          </a:p>
          <a:p>
            <a:endParaRPr lang="en-US" dirty="0"/>
          </a:p>
          <a:p>
            <a:r>
              <a:rPr lang="en-US" dirty="0"/>
              <a:t>contains info on how to authenticate</a:t>
            </a:r>
          </a:p>
          <a:p>
            <a:endParaRPr lang="en-US" dirty="0"/>
          </a:p>
          <a:p>
            <a:r>
              <a:rPr lang="en-US" dirty="0"/>
              <a:t>can integrate with Azure Key Vault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640852D-6A99-4BD2-82E6-95B24B4BE9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6453" y="0"/>
            <a:ext cx="5305547" cy="685800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27CE7436-D0CE-4FD9-8C38-1E5A7B7A7C0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315794" y="4196443"/>
            <a:ext cx="1204546" cy="120454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281B462-5E98-416B-90AE-7560397FFE30}"/>
              </a:ext>
            </a:extLst>
          </p:cNvPr>
          <p:cNvSpPr txBox="1"/>
          <p:nvPr/>
        </p:nvSpPr>
        <p:spPr>
          <a:xfrm>
            <a:off x="6972300" y="5191125"/>
            <a:ext cx="2181225" cy="314325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9918874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57C111-25F2-4CAA-AE4D-C0EDFE7812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set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A4576F3-24A7-4DEC-B856-00509A09FD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19555" y="1289981"/>
            <a:ext cx="7910245" cy="5563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475625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A00F838-93BD-46A0-9675-42AED121CE6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sz="13800" dirty="0"/>
              <a:t>DEMO</a:t>
            </a:r>
            <a:endParaRPr lang="nl-BE" sz="13800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6E0D2489-6A42-4C2F-AC08-FE9B6654986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81046386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16ADEBB-90B2-4F48-8149-EDC71591B6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gration runtimes</a:t>
            </a:r>
            <a:endParaRPr lang="nl-B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831CA8E-D508-4BF9-B19E-09A09529A03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984"/>
          <a:stretch/>
        </p:blipFill>
        <p:spPr>
          <a:xfrm>
            <a:off x="1073401" y="1669038"/>
            <a:ext cx="7079999" cy="11445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EE59D8E-F8F9-456D-A6D8-47B4B270CD8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74" t="2636" r="1376"/>
          <a:stretch/>
        </p:blipFill>
        <p:spPr>
          <a:xfrm>
            <a:off x="1073401" y="4037535"/>
            <a:ext cx="6981825" cy="115142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44F6488-E25E-479E-A014-773F34F7BFC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20270" y="2920331"/>
            <a:ext cx="7643522" cy="84589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EA4FBC1-18BF-4FD0-B517-5BE6E6AE5B7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3401" y="5575554"/>
            <a:ext cx="7149819" cy="1151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58170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5E9CC81-A8F4-4439-A4CA-3ADB2CF4B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act</a:t>
            </a:r>
            <a:endParaRPr lang="nl-BE" dirty="0"/>
          </a:p>
        </p:txBody>
      </p:sp>
      <p:pic>
        <p:nvPicPr>
          <p:cNvPr id="1026" name="Picture 2" descr="Duvel Beer Glass | Roberts &amp; Speight Wine Merchants &amp; Delicatessen">
            <a:extLst>
              <a:ext uri="{FF2B5EF4-FFF2-40B4-BE49-F238E27FC236}">
                <a16:creationId xmlns:a16="http://schemas.microsoft.com/office/drawing/2014/main" id="{5EC29D78-2384-45FC-B6AF-C98114F508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alphaModFix amt="3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4339" y="990899"/>
            <a:ext cx="2367661" cy="4267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EAA10CD-9D1C-4C49-B5AE-58226636C59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5421842"/>
            <a:ext cx="2545080" cy="102684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5D161C8D-663B-4479-82E4-47BE03A5F6F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6907" y="5276137"/>
            <a:ext cx="2289053" cy="1291369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567CC35-AC26-4F78-A0DA-AF4C0D772EB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54186" y="5436990"/>
            <a:ext cx="3074347" cy="996547"/>
          </a:xfrm>
          <a:prstGeom prst="rect">
            <a:avLst/>
          </a:prstGeom>
        </p:spPr>
      </p:pic>
      <p:pic>
        <p:nvPicPr>
          <p:cNvPr id="1030" name="Picture 6" descr="LinkedIn logo">
            <a:extLst>
              <a:ext uri="{FF2B5EF4-FFF2-40B4-BE49-F238E27FC236}">
                <a16:creationId xmlns:a16="http://schemas.microsoft.com/office/drawing/2014/main" id="{ABD504F5-71D8-476F-9098-E5AC766435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694193"/>
            <a:ext cx="8382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4A89FB90-D1F7-49D7-932B-7A915FE0122D}"/>
              </a:ext>
            </a:extLst>
          </p:cNvPr>
          <p:cNvSpPr txBox="1"/>
          <p:nvPr/>
        </p:nvSpPr>
        <p:spPr>
          <a:xfrm>
            <a:off x="2028824" y="1820905"/>
            <a:ext cx="29003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CA" sz="3200" b="0" i="0" u="none" strike="noStrike" kern="1200" cap="none" spc="0" normalizeH="0" baseline="0" noProof="0" dirty="0">
                <a:ln>
                  <a:noFill/>
                </a:ln>
                <a:solidFill>
                  <a:srgbClr val="0274B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en Verbeeck</a:t>
            </a:r>
          </a:p>
        </p:txBody>
      </p:sp>
      <p:pic>
        <p:nvPicPr>
          <p:cNvPr id="1032" name="Picture 8" descr="Download Twitter Logo Png Transparent Background - Logo Twitter Png PNG  Image with No Background - PNGkey.com">
            <a:extLst>
              <a:ext uri="{FF2B5EF4-FFF2-40B4-BE49-F238E27FC236}">
                <a16:creationId xmlns:a16="http://schemas.microsoft.com/office/drawing/2014/main" id="{1A0F28DB-B120-4149-A9BF-B5891541B4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345" y="2755630"/>
            <a:ext cx="8382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32E475E7-96DF-4E92-BDAA-A0A65DA568CE}"/>
              </a:ext>
            </a:extLst>
          </p:cNvPr>
          <p:cNvSpPr txBox="1"/>
          <p:nvPr/>
        </p:nvSpPr>
        <p:spPr>
          <a:xfrm>
            <a:off x="2028824" y="2832243"/>
            <a:ext cx="29003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CA" sz="3200" b="0" i="0" u="none" strike="noStrike" kern="1200" cap="none" spc="0" normalizeH="0" baseline="0" noProof="0" dirty="0">
                <a:ln>
                  <a:noFill/>
                </a:ln>
                <a:solidFill>
                  <a:srgbClr val="00AEE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@Ko_Ver</a:t>
            </a:r>
          </a:p>
        </p:txBody>
      </p:sp>
      <p:sp>
        <p:nvSpPr>
          <p:cNvPr id="24" name="Graphic 22">
            <a:extLst>
              <a:ext uri="{FF2B5EF4-FFF2-40B4-BE49-F238E27FC236}">
                <a16:creationId xmlns:a16="http://schemas.microsoft.com/office/drawing/2014/main" id="{BFF25780-A8C4-4535-819C-7DA44AC5906F}"/>
              </a:ext>
            </a:extLst>
          </p:cNvPr>
          <p:cNvSpPr/>
          <p:nvPr/>
        </p:nvSpPr>
        <p:spPr>
          <a:xfrm>
            <a:off x="836345" y="3788492"/>
            <a:ext cx="838200" cy="739733"/>
          </a:xfrm>
          <a:custGeom>
            <a:avLst/>
            <a:gdLst>
              <a:gd name="connsiteX0" fmla="*/ 1048173 w 1144481"/>
              <a:gd name="connsiteY0" fmla="*/ 354330 h 688551"/>
              <a:gd name="connsiteX1" fmla="*/ 1144482 w 1144481"/>
              <a:gd name="connsiteY1" fmla="*/ 514138 h 688551"/>
              <a:gd name="connsiteX2" fmla="*/ 1024467 w 1144481"/>
              <a:gd name="connsiteY2" fmla="*/ 683048 h 688551"/>
              <a:gd name="connsiteX3" fmla="*/ 1000760 w 1144481"/>
              <a:gd name="connsiteY3" fmla="*/ 688552 h 688551"/>
              <a:gd name="connsiteX4" fmla="*/ 174413 w 1144481"/>
              <a:gd name="connsiteY4" fmla="*/ 688552 h 688551"/>
              <a:gd name="connsiteX5" fmla="*/ 0 w 1144481"/>
              <a:gd name="connsiteY5" fmla="*/ 495935 h 688551"/>
              <a:gd name="connsiteX6" fmla="*/ 174413 w 1144481"/>
              <a:gd name="connsiteY6" fmla="*/ 303318 h 688551"/>
              <a:gd name="connsiteX7" fmla="*/ 194310 w 1144481"/>
              <a:gd name="connsiteY7" fmla="*/ 305223 h 688551"/>
              <a:gd name="connsiteX8" fmla="*/ 327025 w 1144481"/>
              <a:gd name="connsiteY8" fmla="*/ 225213 h 688551"/>
              <a:gd name="connsiteX9" fmla="*/ 370628 w 1144481"/>
              <a:gd name="connsiteY9" fmla="*/ 232410 h 688551"/>
              <a:gd name="connsiteX10" fmla="*/ 370628 w 1144481"/>
              <a:gd name="connsiteY10" fmla="*/ 225213 h 688551"/>
              <a:gd name="connsiteX11" fmla="*/ 574040 w 1144481"/>
              <a:gd name="connsiteY11" fmla="*/ 0 h 688551"/>
              <a:gd name="connsiteX12" fmla="*/ 757555 w 1144481"/>
              <a:gd name="connsiteY12" fmla="*/ 130810 h 688551"/>
              <a:gd name="connsiteX13" fmla="*/ 853863 w 1144481"/>
              <a:gd name="connsiteY13" fmla="*/ 101812 h 688551"/>
              <a:gd name="connsiteX14" fmla="*/ 1050078 w 1144481"/>
              <a:gd name="connsiteY14" fmla="*/ 319828 h 688551"/>
              <a:gd name="connsiteX15" fmla="*/ 1048173 w 1144481"/>
              <a:gd name="connsiteY15" fmla="*/ 354330 h 688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144481" h="688551">
                <a:moveTo>
                  <a:pt x="1048173" y="354330"/>
                </a:moveTo>
                <a:cubicBezTo>
                  <a:pt x="1106382" y="381635"/>
                  <a:pt x="1144482" y="443442"/>
                  <a:pt x="1144482" y="514138"/>
                </a:cubicBezTo>
                <a:cubicBezTo>
                  <a:pt x="1144482" y="595842"/>
                  <a:pt x="1093682" y="664845"/>
                  <a:pt x="1024467" y="683048"/>
                </a:cubicBezTo>
                <a:lnTo>
                  <a:pt x="1000760" y="688552"/>
                </a:lnTo>
                <a:lnTo>
                  <a:pt x="174413" y="688552"/>
                </a:lnTo>
                <a:cubicBezTo>
                  <a:pt x="78105" y="688552"/>
                  <a:pt x="0" y="601345"/>
                  <a:pt x="0" y="495935"/>
                </a:cubicBezTo>
                <a:cubicBezTo>
                  <a:pt x="0" y="390525"/>
                  <a:pt x="78105" y="303318"/>
                  <a:pt x="174413" y="303318"/>
                </a:cubicBezTo>
                <a:cubicBezTo>
                  <a:pt x="181610" y="303318"/>
                  <a:pt x="187113" y="303318"/>
                  <a:pt x="194310" y="305223"/>
                </a:cubicBezTo>
                <a:cubicBezTo>
                  <a:pt x="223308" y="254423"/>
                  <a:pt x="272415" y="225213"/>
                  <a:pt x="327025" y="225213"/>
                </a:cubicBezTo>
                <a:cubicBezTo>
                  <a:pt x="341630" y="225213"/>
                  <a:pt x="356023" y="227118"/>
                  <a:pt x="370628" y="232410"/>
                </a:cubicBezTo>
                <a:cubicBezTo>
                  <a:pt x="370628" y="230505"/>
                  <a:pt x="370628" y="226907"/>
                  <a:pt x="370628" y="225213"/>
                </a:cubicBezTo>
                <a:cubicBezTo>
                  <a:pt x="370628" y="99907"/>
                  <a:pt x="461433" y="0"/>
                  <a:pt x="574040" y="0"/>
                </a:cubicBezTo>
                <a:cubicBezTo>
                  <a:pt x="652145" y="0"/>
                  <a:pt x="724747" y="52705"/>
                  <a:pt x="757555" y="130810"/>
                </a:cubicBezTo>
                <a:cubicBezTo>
                  <a:pt x="786553" y="112607"/>
                  <a:pt x="819362" y="101812"/>
                  <a:pt x="853863" y="101812"/>
                </a:cubicBezTo>
                <a:cubicBezTo>
                  <a:pt x="962872" y="101812"/>
                  <a:pt x="1050078" y="200025"/>
                  <a:pt x="1050078" y="319828"/>
                </a:cubicBezTo>
                <a:cubicBezTo>
                  <a:pt x="1051772" y="330835"/>
                  <a:pt x="1050078" y="341630"/>
                  <a:pt x="1048173" y="354330"/>
                </a:cubicBezTo>
                <a:close/>
              </a:path>
            </a:pathLst>
          </a:custGeom>
          <a:solidFill>
            <a:srgbClr val="00188F"/>
          </a:solidFill>
          <a:ln w="2117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1C574BF-8FBF-4BF2-976A-76C4D9FB4ED1}"/>
              </a:ext>
            </a:extLst>
          </p:cNvPr>
          <p:cNvSpPr txBox="1"/>
          <p:nvPr/>
        </p:nvSpPr>
        <p:spPr>
          <a:xfrm>
            <a:off x="2028823" y="3862647"/>
            <a:ext cx="29003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CA" sz="3200" b="0" i="0" u="none" strike="noStrike" kern="1200" cap="none" spc="0" normalizeH="0" baseline="0" noProof="0" dirty="0">
                <a:ln>
                  <a:noFill/>
                </a:ln>
                <a:solidFill>
                  <a:srgbClr val="00188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QLkover.com</a:t>
            </a:r>
          </a:p>
        </p:txBody>
      </p:sp>
    </p:spTree>
    <p:extLst>
      <p:ext uri="{BB962C8B-B14F-4D97-AF65-F5344CB8AC3E}">
        <p14:creationId xmlns:p14="http://schemas.microsoft.com/office/powerpoint/2010/main" val="261998883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CE0128-35AD-4C5E-95D6-2D3AF6D8E6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iggers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BF96563-76E4-4F95-B1E1-DE79733536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90338" y="0"/>
            <a:ext cx="4501662" cy="684739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274E9AF-A621-4076-A56E-F546E93F40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95953" y="1772258"/>
            <a:ext cx="2948354" cy="4082335"/>
          </a:xfrm>
          <a:prstGeom prst="rect">
            <a:avLst/>
          </a:prstGeom>
        </p:spPr>
      </p:pic>
      <p:pic>
        <p:nvPicPr>
          <p:cNvPr id="9" name="Graphic 8" descr="Alarm clock with solid fill">
            <a:extLst>
              <a:ext uri="{FF2B5EF4-FFF2-40B4-BE49-F238E27FC236}">
                <a16:creationId xmlns:a16="http://schemas.microsoft.com/office/drawing/2014/main" id="{B7CE9315-8AC0-46D1-8B5B-26BC5581105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38200" y="1518138"/>
            <a:ext cx="1271954" cy="12719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336976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75547B-314D-4312-875B-0EF41A237C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flow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4AA609E-0FA2-4D65-8AEA-9799FDC003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4861" y="1692998"/>
            <a:ext cx="11462278" cy="146661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C82626F-3371-42FD-8031-33EFB02A67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4861" y="3562628"/>
            <a:ext cx="5250635" cy="3132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007765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CCD0A6E-69E1-41CC-BD0E-BE49E8C49D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734018"/>
            <a:ext cx="12192000" cy="612398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CDCA43-20D3-4CDE-A97E-3B0FDBD7B8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wer query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74864578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105BF-D997-4A0C-BD31-594F6D1DC3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f it’s not in ADF?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CA7427-CD68-4C23-B331-42F6ECFEFAC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zure Functions</a:t>
            </a:r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r>
              <a:rPr lang="en-US" dirty="0"/>
              <a:t>Azure Logic Apps</a:t>
            </a:r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r>
              <a:rPr lang="en-US" dirty="0"/>
              <a:t>SSIS?</a:t>
            </a:r>
          </a:p>
          <a:p>
            <a:r>
              <a:rPr lang="en-US" dirty="0"/>
              <a:t>or do it in SQL/Python/…</a:t>
            </a:r>
            <a:endParaRPr lang="nl-BE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DD469F4B-8850-4F4E-91C3-49298F0010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47799" y="2038349"/>
            <a:ext cx="1000125" cy="1000125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90A52322-4FD0-427B-A052-2EF5C0A8D6A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447799" y="3819527"/>
            <a:ext cx="1000125" cy="100012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03796B6-3605-999E-14EB-904DD97BDB7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28640" y="2319527"/>
            <a:ext cx="5829826" cy="2994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599396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30B25E8-65B9-4D76-ABEF-D4D1D4BC292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8174568" cy="3015766"/>
          </a:xfrm>
        </p:spPr>
        <p:txBody>
          <a:bodyPr>
            <a:normAutofit/>
          </a:bodyPr>
          <a:lstStyle/>
          <a:p>
            <a:r>
              <a:rPr lang="en-US" sz="8800" dirty="0"/>
              <a:t>git integration</a:t>
            </a:r>
            <a:endParaRPr lang="nl-BE" sz="8800" dirty="0"/>
          </a:p>
        </p:txBody>
      </p:sp>
    </p:spTree>
    <p:extLst>
      <p:ext uri="{BB962C8B-B14F-4D97-AF65-F5344CB8AC3E}">
        <p14:creationId xmlns:p14="http://schemas.microsoft.com/office/powerpoint/2010/main" val="191633136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A971475-5F31-47F2-9545-281DCABB82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000" y="546669"/>
            <a:ext cx="5369365" cy="260610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CF9ABC8-CF94-4B03-935F-155A22F3B3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59719" y="546669"/>
            <a:ext cx="4842315" cy="6311331"/>
          </a:xfrm>
          <a:prstGeom prst="rect">
            <a:avLst/>
          </a:prstGeom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F1CBC351-8DD1-43F7-9C9C-FB32C51F448D}"/>
              </a:ext>
            </a:extLst>
          </p:cNvPr>
          <p:cNvCxnSpPr>
            <a:cxnSpLocks/>
          </p:cNvCxnSpPr>
          <p:nvPr/>
        </p:nvCxnSpPr>
        <p:spPr>
          <a:xfrm>
            <a:off x="5656385" y="2343150"/>
            <a:ext cx="998855" cy="0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5866C35C-73DE-4D01-A676-B9A449B249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0953" y="3548932"/>
            <a:ext cx="3705886" cy="2870918"/>
          </a:xfrm>
          <a:prstGeom prst="rect">
            <a:avLst/>
          </a:prstGeom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B7572CC0-DCAC-4F9E-9738-95872A5DC080}"/>
              </a:ext>
            </a:extLst>
          </p:cNvPr>
          <p:cNvCxnSpPr>
            <a:cxnSpLocks/>
          </p:cNvCxnSpPr>
          <p:nvPr/>
        </p:nvCxnSpPr>
        <p:spPr>
          <a:xfrm flipH="1">
            <a:off x="4857750" y="5181600"/>
            <a:ext cx="1728055" cy="0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</p:spTree>
    <p:extLst>
      <p:ext uri="{BB962C8B-B14F-4D97-AF65-F5344CB8AC3E}">
        <p14:creationId xmlns:p14="http://schemas.microsoft.com/office/powerpoint/2010/main" val="29346640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BE7615A-2A3A-443D-8ABE-455F25BD26A9}"/>
              </a:ext>
            </a:extLst>
          </p:cNvPr>
          <p:cNvSpPr/>
          <p:nvPr/>
        </p:nvSpPr>
        <p:spPr>
          <a:xfrm>
            <a:off x="6915150" y="750726"/>
            <a:ext cx="3771900" cy="535654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55A5BB4-3B5E-46F0-B01A-66A8244A290C}"/>
              </a:ext>
            </a:extLst>
          </p:cNvPr>
          <p:cNvSpPr/>
          <p:nvPr/>
        </p:nvSpPr>
        <p:spPr>
          <a:xfrm>
            <a:off x="1371600" y="750726"/>
            <a:ext cx="3771900" cy="535654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637F83A-30A2-488F-A91F-E125010E84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71600" y="750726"/>
            <a:ext cx="1228725" cy="1228725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B30714CE-F241-4EE1-BA21-4732703B3C4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915150" y="750725"/>
            <a:ext cx="1228725" cy="122872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14C66CD-F402-4043-8E1C-217F419290A9}"/>
              </a:ext>
            </a:extLst>
          </p:cNvPr>
          <p:cNvSpPr txBox="1"/>
          <p:nvPr/>
        </p:nvSpPr>
        <p:spPr>
          <a:xfrm>
            <a:off x="2790825" y="942974"/>
            <a:ext cx="215265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DEV</a:t>
            </a:r>
            <a:br>
              <a:rPr lang="en-US" sz="2000" dirty="0">
                <a:solidFill>
                  <a:schemeClr val="bg1"/>
                </a:solidFill>
              </a:rPr>
            </a:br>
            <a:r>
              <a:rPr lang="en-US" sz="2000" dirty="0">
                <a:solidFill>
                  <a:schemeClr val="bg1"/>
                </a:solidFill>
              </a:rPr>
              <a:t>git integrated</a:t>
            </a:r>
            <a:endParaRPr lang="nl-BE" sz="2000" dirty="0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600489D-534B-4315-B6EE-62B9D1A1914E}"/>
              </a:ext>
            </a:extLst>
          </p:cNvPr>
          <p:cNvSpPr txBox="1"/>
          <p:nvPr/>
        </p:nvSpPr>
        <p:spPr>
          <a:xfrm>
            <a:off x="8324850" y="942974"/>
            <a:ext cx="215265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PRD</a:t>
            </a:r>
            <a:br>
              <a:rPr lang="en-US" sz="2000" dirty="0">
                <a:solidFill>
                  <a:schemeClr val="bg1"/>
                </a:solidFill>
              </a:rPr>
            </a:br>
            <a:r>
              <a:rPr lang="en-US" sz="2000" dirty="0">
                <a:solidFill>
                  <a:schemeClr val="bg1"/>
                </a:solidFill>
              </a:rPr>
              <a:t>live mode</a:t>
            </a:r>
            <a:endParaRPr lang="nl-BE" sz="2000" dirty="0">
              <a:solidFill>
                <a:schemeClr val="bg1"/>
              </a:solidFill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C8630205-63CD-469A-B50F-33FA6B223D94}"/>
              </a:ext>
            </a:extLst>
          </p:cNvPr>
          <p:cNvCxnSpPr>
            <a:cxnSpLocks/>
          </p:cNvCxnSpPr>
          <p:nvPr/>
        </p:nvCxnSpPr>
        <p:spPr>
          <a:xfrm>
            <a:off x="1985962" y="2371725"/>
            <a:ext cx="0" cy="3590925"/>
          </a:xfrm>
          <a:prstGeom prst="straightConnector1">
            <a:avLst/>
          </a:prstGeom>
          <a:ln w="317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199E80D6-3A56-46C5-B73D-02C847A06434}"/>
              </a:ext>
            </a:extLst>
          </p:cNvPr>
          <p:cNvSpPr txBox="1"/>
          <p:nvPr/>
        </p:nvSpPr>
        <p:spPr>
          <a:xfrm>
            <a:off x="1590676" y="2066925"/>
            <a:ext cx="7715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main</a:t>
            </a:r>
            <a:endParaRPr lang="nl-BE" dirty="0">
              <a:solidFill>
                <a:schemeClr val="bg1"/>
              </a:solidFill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3499CCA7-A0B4-4B92-BBE0-C0B4A02D237E}"/>
              </a:ext>
            </a:extLst>
          </p:cNvPr>
          <p:cNvCxnSpPr>
            <a:cxnSpLocks/>
          </p:cNvCxnSpPr>
          <p:nvPr/>
        </p:nvCxnSpPr>
        <p:spPr>
          <a:xfrm flipH="1">
            <a:off x="2890836" y="2943225"/>
            <a:ext cx="1" cy="1223962"/>
          </a:xfrm>
          <a:prstGeom prst="straightConnector1">
            <a:avLst/>
          </a:prstGeom>
          <a:ln w="317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4DFDC6AD-CF43-4126-B9B4-EAF0562FB0FE}"/>
              </a:ext>
            </a:extLst>
          </p:cNvPr>
          <p:cNvSpPr txBox="1"/>
          <p:nvPr/>
        </p:nvSpPr>
        <p:spPr>
          <a:xfrm>
            <a:off x="2433638" y="2466975"/>
            <a:ext cx="9143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feat A</a:t>
            </a:r>
            <a:endParaRPr lang="nl-BE" dirty="0">
              <a:solidFill>
                <a:schemeClr val="bg1"/>
              </a:solidFill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2873249-E7EF-4434-9900-4EC28A4768AF}"/>
              </a:ext>
            </a:extLst>
          </p:cNvPr>
          <p:cNvCxnSpPr/>
          <p:nvPr/>
        </p:nvCxnSpPr>
        <p:spPr>
          <a:xfrm>
            <a:off x="1981200" y="2651641"/>
            <a:ext cx="909636" cy="310634"/>
          </a:xfrm>
          <a:prstGeom prst="line">
            <a:avLst/>
          </a:prstGeom>
          <a:ln w="317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val 19">
            <a:extLst>
              <a:ext uri="{FF2B5EF4-FFF2-40B4-BE49-F238E27FC236}">
                <a16:creationId xmlns:a16="http://schemas.microsoft.com/office/drawing/2014/main" id="{A78D4680-636D-458C-8D8B-A056FDB1C137}"/>
              </a:ext>
            </a:extLst>
          </p:cNvPr>
          <p:cNvSpPr/>
          <p:nvPr/>
        </p:nvSpPr>
        <p:spPr>
          <a:xfrm>
            <a:off x="2840063" y="3162443"/>
            <a:ext cx="108000" cy="10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A4AA1ABC-22F6-4E41-AC2E-312F00E1978F}"/>
              </a:ext>
            </a:extLst>
          </p:cNvPr>
          <p:cNvSpPr/>
          <p:nvPr/>
        </p:nvSpPr>
        <p:spPr>
          <a:xfrm>
            <a:off x="2840063" y="3431035"/>
            <a:ext cx="108000" cy="10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6B0AFEFE-DAEE-47BE-AC99-A5C254E4C45A}"/>
              </a:ext>
            </a:extLst>
          </p:cNvPr>
          <p:cNvSpPr/>
          <p:nvPr/>
        </p:nvSpPr>
        <p:spPr>
          <a:xfrm>
            <a:off x="2840063" y="3699627"/>
            <a:ext cx="108000" cy="10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6830888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20" grpId="0" animBg="1"/>
      <p:bldP spid="21" grpId="0" animBg="1"/>
      <p:bldP spid="22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BE7615A-2A3A-443D-8ABE-455F25BD26A9}"/>
              </a:ext>
            </a:extLst>
          </p:cNvPr>
          <p:cNvSpPr/>
          <p:nvPr/>
        </p:nvSpPr>
        <p:spPr>
          <a:xfrm>
            <a:off x="6915150" y="750726"/>
            <a:ext cx="3771900" cy="535654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55A5BB4-3B5E-46F0-B01A-66A8244A290C}"/>
              </a:ext>
            </a:extLst>
          </p:cNvPr>
          <p:cNvSpPr/>
          <p:nvPr/>
        </p:nvSpPr>
        <p:spPr>
          <a:xfrm>
            <a:off x="1371600" y="750726"/>
            <a:ext cx="3771900" cy="535654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637F83A-30A2-488F-A91F-E125010E84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71600" y="750726"/>
            <a:ext cx="1228725" cy="1228725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B30714CE-F241-4EE1-BA21-4732703B3C4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915150" y="750725"/>
            <a:ext cx="1228725" cy="122872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14C66CD-F402-4043-8E1C-217F419290A9}"/>
              </a:ext>
            </a:extLst>
          </p:cNvPr>
          <p:cNvSpPr txBox="1"/>
          <p:nvPr/>
        </p:nvSpPr>
        <p:spPr>
          <a:xfrm>
            <a:off x="2790825" y="942974"/>
            <a:ext cx="215265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DEV</a:t>
            </a:r>
            <a:br>
              <a:rPr lang="en-US" sz="2000" dirty="0">
                <a:solidFill>
                  <a:schemeClr val="bg1"/>
                </a:solidFill>
              </a:rPr>
            </a:br>
            <a:r>
              <a:rPr lang="en-US" sz="2000" dirty="0">
                <a:solidFill>
                  <a:schemeClr val="bg1"/>
                </a:solidFill>
              </a:rPr>
              <a:t>git integrated</a:t>
            </a:r>
            <a:endParaRPr lang="nl-BE" sz="2000" dirty="0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600489D-534B-4315-B6EE-62B9D1A1914E}"/>
              </a:ext>
            </a:extLst>
          </p:cNvPr>
          <p:cNvSpPr txBox="1"/>
          <p:nvPr/>
        </p:nvSpPr>
        <p:spPr>
          <a:xfrm>
            <a:off x="8324850" y="942974"/>
            <a:ext cx="215265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PRD</a:t>
            </a:r>
            <a:br>
              <a:rPr lang="en-US" sz="2000" dirty="0">
                <a:solidFill>
                  <a:schemeClr val="bg1"/>
                </a:solidFill>
              </a:rPr>
            </a:br>
            <a:r>
              <a:rPr lang="en-US" sz="2000" dirty="0">
                <a:solidFill>
                  <a:schemeClr val="bg1"/>
                </a:solidFill>
              </a:rPr>
              <a:t>live mode</a:t>
            </a:r>
            <a:endParaRPr lang="nl-BE" sz="2000" dirty="0">
              <a:solidFill>
                <a:schemeClr val="bg1"/>
              </a:solidFill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C8630205-63CD-469A-B50F-33FA6B223D94}"/>
              </a:ext>
            </a:extLst>
          </p:cNvPr>
          <p:cNvCxnSpPr>
            <a:cxnSpLocks/>
          </p:cNvCxnSpPr>
          <p:nvPr/>
        </p:nvCxnSpPr>
        <p:spPr>
          <a:xfrm>
            <a:off x="1985962" y="2371725"/>
            <a:ext cx="0" cy="3590925"/>
          </a:xfrm>
          <a:prstGeom prst="straightConnector1">
            <a:avLst/>
          </a:prstGeom>
          <a:ln w="317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199E80D6-3A56-46C5-B73D-02C847A06434}"/>
              </a:ext>
            </a:extLst>
          </p:cNvPr>
          <p:cNvSpPr txBox="1"/>
          <p:nvPr/>
        </p:nvSpPr>
        <p:spPr>
          <a:xfrm>
            <a:off x="1590676" y="2066925"/>
            <a:ext cx="7715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main</a:t>
            </a:r>
            <a:endParaRPr lang="nl-BE" dirty="0">
              <a:solidFill>
                <a:schemeClr val="bg1"/>
              </a:solidFill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3499CCA7-A0B4-4B92-BBE0-C0B4A02D237E}"/>
              </a:ext>
            </a:extLst>
          </p:cNvPr>
          <p:cNvCxnSpPr>
            <a:cxnSpLocks/>
          </p:cNvCxnSpPr>
          <p:nvPr/>
        </p:nvCxnSpPr>
        <p:spPr>
          <a:xfrm flipH="1">
            <a:off x="2890836" y="2943225"/>
            <a:ext cx="1" cy="1223962"/>
          </a:xfrm>
          <a:prstGeom prst="straightConnector1">
            <a:avLst/>
          </a:prstGeom>
          <a:ln w="317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4DFDC6AD-CF43-4126-B9B4-EAF0562FB0FE}"/>
              </a:ext>
            </a:extLst>
          </p:cNvPr>
          <p:cNvSpPr txBox="1"/>
          <p:nvPr/>
        </p:nvSpPr>
        <p:spPr>
          <a:xfrm>
            <a:off x="2433638" y="2466975"/>
            <a:ext cx="9143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feat A</a:t>
            </a:r>
            <a:endParaRPr lang="nl-BE" dirty="0">
              <a:solidFill>
                <a:schemeClr val="bg1"/>
              </a:solidFill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2873249-E7EF-4434-9900-4EC28A4768AF}"/>
              </a:ext>
            </a:extLst>
          </p:cNvPr>
          <p:cNvCxnSpPr/>
          <p:nvPr/>
        </p:nvCxnSpPr>
        <p:spPr>
          <a:xfrm>
            <a:off x="1981200" y="2651641"/>
            <a:ext cx="909636" cy="310634"/>
          </a:xfrm>
          <a:prstGeom prst="line">
            <a:avLst/>
          </a:prstGeom>
          <a:ln w="317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val 19">
            <a:extLst>
              <a:ext uri="{FF2B5EF4-FFF2-40B4-BE49-F238E27FC236}">
                <a16:creationId xmlns:a16="http://schemas.microsoft.com/office/drawing/2014/main" id="{A78D4680-636D-458C-8D8B-A056FDB1C137}"/>
              </a:ext>
            </a:extLst>
          </p:cNvPr>
          <p:cNvSpPr/>
          <p:nvPr/>
        </p:nvSpPr>
        <p:spPr>
          <a:xfrm>
            <a:off x="2840063" y="3162443"/>
            <a:ext cx="108000" cy="10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A4AA1ABC-22F6-4E41-AC2E-312F00E1978F}"/>
              </a:ext>
            </a:extLst>
          </p:cNvPr>
          <p:cNvSpPr/>
          <p:nvPr/>
        </p:nvSpPr>
        <p:spPr>
          <a:xfrm>
            <a:off x="2840063" y="3431035"/>
            <a:ext cx="108000" cy="10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6B0AFEFE-DAEE-47BE-AC99-A5C254E4C45A}"/>
              </a:ext>
            </a:extLst>
          </p:cNvPr>
          <p:cNvSpPr/>
          <p:nvPr/>
        </p:nvSpPr>
        <p:spPr>
          <a:xfrm>
            <a:off x="2840063" y="3699627"/>
            <a:ext cx="108000" cy="10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C14EDB73-8A28-4159-AFF9-BBBEDF0F98F2}"/>
              </a:ext>
            </a:extLst>
          </p:cNvPr>
          <p:cNvCxnSpPr>
            <a:cxnSpLocks/>
          </p:cNvCxnSpPr>
          <p:nvPr/>
        </p:nvCxnSpPr>
        <p:spPr>
          <a:xfrm flipV="1">
            <a:off x="1990725" y="4147596"/>
            <a:ext cx="900111" cy="421114"/>
          </a:xfrm>
          <a:prstGeom prst="line">
            <a:avLst/>
          </a:prstGeom>
          <a:ln w="31750">
            <a:solidFill>
              <a:schemeClr val="bg1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0E71BF6E-3C00-4036-A6EC-A8ABA6BF4100}"/>
              </a:ext>
            </a:extLst>
          </p:cNvPr>
          <p:cNvSpPr txBox="1"/>
          <p:nvPr/>
        </p:nvSpPr>
        <p:spPr>
          <a:xfrm>
            <a:off x="2333626" y="4297147"/>
            <a:ext cx="14954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pull request</a:t>
            </a:r>
            <a:endParaRPr lang="nl-BE" dirty="0">
              <a:solidFill>
                <a:schemeClr val="bg1"/>
              </a:solidFill>
            </a:endParaRPr>
          </a:p>
        </p:txBody>
      </p:sp>
      <p:sp>
        <p:nvSpPr>
          <p:cNvPr id="45" name="Explosion: 8 Points 44">
            <a:extLst>
              <a:ext uri="{FF2B5EF4-FFF2-40B4-BE49-F238E27FC236}">
                <a16:creationId xmlns:a16="http://schemas.microsoft.com/office/drawing/2014/main" id="{CB0BAB4B-3A0E-4DC8-A31D-DEFE2FC63A4A}"/>
              </a:ext>
            </a:extLst>
          </p:cNvPr>
          <p:cNvSpPr/>
          <p:nvPr/>
        </p:nvSpPr>
        <p:spPr>
          <a:xfrm>
            <a:off x="1376361" y="4800616"/>
            <a:ext cx="1809750" cy="616393"/>
          </a:xfrm>
          <a:prstGeom prst="irregularSeal1">
            <a:avLst/>
          </a:prstGeom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ublish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9884643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F063D2-BFD6-4D72-A1BB-49AD12F5BA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mezzo!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3EDB72B-D8D7-4E85-95B8-3278552BC5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5135" y="1671680"/>
            <a:ext cx="8211942" cy="113951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A699153-830A-4C58-BBEC-E3C7DD8DBD29}"/>
              </a:ext>
            </a:extLst>
          </p:cNvPr>
          <p:cNvSpPr txBox="1"/>
          <p:nvPr/>
        </p:nvSpPr>
        <p:spPr>
          <a:xfrm>
            <a:off x="8032505" y="2252256"/>
            <a:ext cx="1404571" cy="558940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C72C8AD-B357-4A34-A22C-8B622696ED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5135" y="2896311"/>
            <a:ext cx="4046571" cy="3878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386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BE7615A-2A3A-443D-8ABE-455F25BD26A9}"/>
              </a:ext>
            </a:extLst>
          </p:cNvPr>
          <p:cNvSpPr/>
          <p:nvPr/>
        </p:nvSpPr>
        <p:spPr>
          <a:xfrm>
            <a:off x="6915150" y="750726"/>
            <a:ext cx="3771900" cy="535654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55A5BB4-3B5E-46F0-B01A-66A8244A290C}"/>
              </a:ext>
            </a:extLst>
          </p:cNvPr>
          <p:cNvSpPr/>
          <p:nvPr/>
        </p:nvSpPr>
        <p:spPr>
          <a:xfrm>
            <a:off x="1371600" y="750726"/>
            <a:ext cx="3771900" cy="535654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637F83A-30A2-488F-A91F-E125010E84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71600" y="750726"/>
            <a:ext cx="1228725" cy="1228725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B30714CE-F241-4EE1-BA21-4732703B3C4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915150" y="750725"/>
            <a:ext cx="1228725" cy="122872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14C66CD-F402-4043-8E1C-217F419290A9}"/>
              </a:ext>
            </a:extLst>
          </p:cNvPr>
          <p:cNvSpPr txBox="1"/>
          <p:nvPr/>
        </p:nvSpPr>
        <p:spPr>
          <a:xfrm>
            <a:off x="2790825" y="942974"/>
            <a:ext cx="215265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DEV</a:t>
            </a:r>
            <a:br>
              <a:rPr lang="en-US" sz="2000" dirty="0">
                <a:solidFill>
                  <a:schemeClr val="bg1"/>
                </a:solidFill>
              </a:rPr>
            </a:br>
            <a:r>
              <a:rPr lang="en-US" sz="2000" dirty="0">
                <a:solidFill>
                  <a:schemeClr val="bg1"/>
                </a:solidFill>
              </a:rPr>
              <a:t>git integrated</a:t>
            </a:r>
            <a:endParaRPr lang="nl-BE" sz="2000" dirty="0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600489D-534B-4315-B6EE-62B9D1A1914E}"/>
              </a:ext>
            </a:extLst>
          </p:cNvPr>
          <p:cNvSpPr txBox="1"/>
          <p:nvPr/>
        </p:nvSpPr>
        <p:spPr>
          <a:xfrm>
            <a:off x="8324850" y="942974"/>
            <a:ext cx="215265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PRD</a:t>
            </a:r>
            <a:br>
              <a:rPr lang="en-US" sz="2000" dirty="0">
                <a:solidFill>
                  <a:schemeClr val="bg1"/>
                </a:solidFill>
              </a:rPr>
            </a:br>
            <a:r>
              <a:rPr lang="en-US" sz="2000" dirty="0">
                <a:solidFill>
                  <a:schemeClr val="bg1"/>
                </a:solidFill>
              </a:rPr>
              <a:t>live mode</a:t>
            </a:r>
            <a:endParaRPr lang="nl-BE" sz="2000" dirty="0">
              <a:solidFill>
                <a:schemeClr val="bg1"/>
              </a:solidFill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C8630205-63CD-469A-B50F-33FA6B223D94}"/>
              </a:ext>
            </a:extLst>
          </p:cNvPr>
          <p:cNvCxnSpPr>
            <a:cxnSpLocks/>
          </p:cNvCxnSpPr>
          <p:nvPr/>
        </p:nvCxnSpPr>
        <p:spPr>
          <a:xfrm>
            <a:off x="1985962" y="2371725"/>
            <a:ext cx="0" cy="3590925"/>
          </a:xfrm>
          <a:prstGeom prst="straightConnector1">
            <a:avLst/>
          </a:prstGeom>
          <a:ln w="317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199E80D6-3A56-46C5-B73D-02C847A06434}"/>
              </a:ext>
            </a:extLst>
          </p:cNvPr>
          <p:cNvSpPr txBox="1"/>
          <p:nvPr/>
        </p:nvSpPr>
        <p:spPr>
          <a:xfrm>
            <a:off x="1590676" y="2066925"/>
            <a:ext cx="7715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main</a:t>
            </a:r>
            <a:endParaRPr lang="nl-BE" dirty="0">
              <a:solidFill>
                <a:schemeClr val="bg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DFDC6AD-CF43-4126-B9B4-EAF0562FB0FE}"/>
              </a:ext>
            </a:extLst>
          </p:cNvPr>
          <p:cNvSpPr txBox="1"/>
          <p:nvPr/>
        </p:nvSpPr>
        <p:spPr>
          <a:xfrm>
            <a:off x="2433638" y="2466975"/>
            <a:ext cx="9143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feat A</a:t>
            </a:r>
            <a:endParaRPr lang="nl-BE" dirty="0">
              <a:solidFill>
                <a:schemeClr val="bg1"/>
              </a:solidFill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2873249-E7EF-4434-9900-4EC28A4768AF}"/>
              </a:ext>
            </a:extLst>
          </p:cNvPr>
          <p:cNvCxnSpPr/>
          <p:nvPr/>
        </p:nvCxnSpPr>
        <p:spPr>
          <a:xfrm>
            <a:off x="1981200" y="2651641"/>
            <a:ext cx="909636" cy="310634"/>
          </a:xfrm>
          <a:prstGeom prst="line">
            <a:avLst/>
          </a:prstGeom>
          <a:ln w="317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val 19">
            <a:extLst>
              <a:ext uri="{FF2B5EF4-FFF2-40B4-BE49-F238E27FC236}">
                <a16:creationId xmlns:a16="http://schemas.microsoft.com/office/drawing/2014/main" id="{A78D4680-636D-458C-8D8B-A056FDB1C137}"/>
              </a:ext>
            </a:extLst>
          </p:cNvPr>
          <p:cNvSpPr/>
          <p:nvPr/>
        </p:nvSpPr>
        <p:spPr>
          <a:xfrm>
            <a:off x="2840063" y="3162443"/>
            <a:ext cx="108000" cy="10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A4AA1ABC-22F6-4E41-AC2E-312F00E1978F}"/>
              </a:ext>
            </a:extLst>
          </p:cNvPr>
          <p:cNvSpPr/>
          <p:nvPr/>
        </p:nvSpPr>
        <p:spPr>
          <a:xfrm>
            <a:off x="2840063" y="3431035"/>
            <a:ext cx="108000" cy="10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6B0AFEFE-DAEE-47BE-AC99-A5C254E4C45A}"/>
              </a:ext>
            </a:extLst>
          </p:cNvPr>
          <p:cNvSpPr/>
          <p:nvPr/>
        </p:nvSpPr>
        <p:spPr>
          <a:xfrm>
            <a:off x="2840063" y="3699627"/>
            <a:ext cx="108000" cy="10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42AE32BA-24B4-46D2-B5F9-5DCBB4BD9BBE}"/>
              </a:ext>
            </a:extLst>
          </p:cNvPr>
          <p:cNvCxnSpPr>
            <a:cxnSpLocks/>
          </p:cNvCxnSpPr>
          <p:nvPr/>
        </p:nvCxnSpPr>
        <p:spPr>
          <a:xfrm>
            <a:off x="4300537" y="2371724"/>
            <a:ext cx="0" cy="3590925"/>
          </a:xfrm>
          <a:prstGeom prst="straightConnector1">
            <a:avLst/>
          </a:prstGeom>
          <a:ln w="317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15C9A6ED-73EE-4B93-94E2-A606D1F6E4CF}"/>
              </a:ext>
            </a:extLst>
          </p:cNvPr>
          <p:cNvSpPr txBox="1"/>
          <p:nvPr/>
        </p:nvSpPr>
        <p:spPr>
          <a:xfrm>
            <a:off x="3552826" y="2066925"/>
            <a:ext cx="14954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adf_publish</a:t>
            </a:r>
            <a:endParaRPr lang="nl-BE" dirty="0">
              <a:solidFill>
                <a:schemeClr val="bg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9FFCC23-7D19-49F0-91F9-0C4EE9572635}"/>
              </a:ext>
            </a:extLst>
          </p:cNvPr>
          <p:cNvGrpSpPr/>
          <p:nvPr/>
        </p:nvGrpSpPr>
        <p:grpSpPr>
          <a:xfrm>
            <a:off x="2872354" y="3730647"/>
            <a:ext cx="2942089" cy="2568875"/>
            <a:chOff x="7340000" y="2652173"/>
            <a:chExt cx="2942089" cy="2568875"/>
          </a:xfrm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03382A32-EB5C-4E79-B8D6-13F33E06DE2B}"/>
                </a:ext>
              </a:extLst>
            </p:cNvPr>
            <p:cNvGrpSpPr/>
            <p:nvPr/>
          </p:nvGrpSpPr>
          <p:grpSpPr>
            <a:xfrm>
              <a:off x="7340000" y="2961462"/>
              <a:ext cx="795339" cy="707887"/>
              <a:chOff x="7529511" y="3162443"/>
              <a:chExt cx="1281114" cy="1008671"/>
            </a:xfrm>
          </p:grpSpPr>
          <p:sp>
            <p:nvSpPr>
              <p:cNvPr id="30" name="Flowchart: Direct Access Storage 29">
                <a:extLst>
                  <a:ext uri="{FF2B5EF4-FFF2-40B4-BE49-F238E27FC236}">
                    <a16:creationId xmlns:a16="http://schemas.microsoft.com/office/drawing/2014/main" id="{AB641787-3044-435B-9230-B3F8A08842D9}"/>
                  </a:ext>
                </a:extLst>
              </p:cNvPr>
              <p:cNvSpPr/>
              <p:nvPr/>
            </p:nvSpPr>
            <p:spPr>
              <a:xfrm rot="10800000">
                <a:off x="8301036" y="3166370"/>
                <a:ext cx="509589" cy="1004744"/>
              </a:xfrm>
              <a:prstGeom prst="flowChartMagneticDrum">
                <a:avLst/>
              </a:prstGeom>
              <a:ln w="349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BE"/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8C9EB471-35E0-42AC-81D4-F4ABCA395BBC}"/>
                  </a:ext>
                </a:extLst>
              </p:cNvPr>
              <p:cNvSpPr/>
              <p:nvPr/>
            </p:nvSpPr>
            <p:spPr>
              <a:xfrm>
                <a:off x="7867650" y="3270442"/>
                <a:ext cx="509590" cy="796061"/>
              </a:xfrm>
              <a:prstGeom prst="rect">
                <a:avLst/>
              </a:prstGeom>
              <a:solidFill>
                <a:srgbClr val="FF8C00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BE"/>
              </a:p>
            </p:txBody>
          </p:sp>
          <p:sp>
            <p:nvSpPr>
              <p:cNvPr id="28" name="Flowchart: Direct Access Storage 27">
                <a:extLst>
                  <a:ext uri="{FF2B5EF4-FFF2-40B4-BE49-F238E27FC236}">
                    <a16:creationId xmlns:a16="http://schemas.microsoft.com/office/drawing/2014/main" id="{5C61E02B-9D80-4EDC-AAEA-5DA8D54AD97D}"/>
                  </a:ext>
                </a:extLst>
              </p:cNvPr>
              <p:cNvSpPr/>
              <p:nvPr/>
            </p:nvSpPr>
            <p:spPr>
              <a:xfrm rot="10800000">
                <a:off x="7529511" y="3162443"/>
                <a:ext cx="509589" cy="1004744"/>
              </a:xfrm>
              <a:prstGeom prst="flowChartMagneticDrum">
                <a:avLst/>
              </a:prstGeom>
              <a:ln w="349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BE"/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5EFE8B9D-BEDB-476E-B629-6C65F39DF67D}"/>
                  </a:ext>
                </a:extLst>
              </p:cNvPr>
              <p:cNvSpPr/>
              <p:nvPr/>
            </p:nvSpPr>
            <p:spPr>
              <a:xfrm>
                <a:off x="8324850" y="3289492"/>
                <a:ext cx="82550" cy="755458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BE"/>
              </a:p>
            </p:txBody>
          </p:sp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706BE893-A332-4444-8486-32748075D8FF}"/>
                </a:ext>
              </a:extLst>
            </p:cNvPr>
            <p:cNvGrpSpPr/>
            <p:nvPr/>
          </p:nvGrpSpPr>
          <p:grpSpPr>
            <a:xfrm>
              <a:off x="7723383" y="3348029"/>
              <a:ext cx="795339" cy="707887"/>
              <a:chOff x="7529511" y="3162443"/>
              <a:chExt cx="1281114" cy="1008671"/>
            </a:xfrm>
          </p:grpSpPr>
          <p:sp>
            <p:nvSpPr>
              <p:cNvPr id="35" name="Flowchart: Direct Access Storage 34">
                <a:extLst>
                  <a:ext uri="{FF2B5EF4-FFF2-40B4-BE49-F238E27FC236}">
                    <a16:creationId xmlns:a16="http://schemas.microsoft.com/office/drawing/2014/main" id="{020E51DC-8345-41A4-A4FB-C0760B7A6D91}"/>
                  </a:ext>
                </a:extLst>
              </p:cNvPr>
              <p:cNvSpPr/>
              <p:nvPr/>
            </p:nvSpPr>
            <p:spPr>
              <a:xfrm rot="10800000">
                <a:off x="8301036" y="3166370"/>
                <a:ext cx="509589" cy="1004744"/>
              </a:xfrm>
              <a:prstGeom prst="flowChartMagneticDrum">
                <a:avLst/>
              </a:prstGeom>
              <a:ln w="349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BE"/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CEEBB20D-1422-4B8C-B0CE-241FCE85A2F6}"/>
                  </a:ext>
                </a:extLst>
              </p:cNvPr>
              <p:cNvSpPr/>
              <p:nvPr/>
            </p:nvSpPr>
            <p:spPr>
              <a:xfrm>
                <a:off x="7867650" y="3270442"/>
                <a:ext cx="509590" cy="796061"/>
              </a:xfrm>
              <a:prstGeom prst="rect">
                <a:avLst/>
              </a:prstGeom>
              <a:solidFill>
                <a:srgbClr val="FF8C00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BE"/>
              </a:p>
            </p:txBody>
          </p:sp>
          <p:sp>
            <p:nvSpPr>
              <p:cNvPr id="37" name="Flowchart: Direct Access Storage 36">
                <a:extLst>
                  <a:ext uri="{FF2B5EF4-FFF2-40B4-BE49-F238E27FC236}">
                    <a16:creationId xmlns:a16="http://schemas.microsoft.com/office/drawing/2014/main" id="{17FF727A-7C48-45AA-BEDC-144C2C1291C0}"/>
                  </a:ext>
                </a:extLst>
              </p:cNvPr>
              <p:cNvSpPr/>
              <p:nvPr/>
            </p:nvSpPr>
            <p:spPr>
              <a:xfrm rot="10800000">
                <a:off x="7529511" y="3162443"/>
                <a:ext cx="509589" cy="1004744"/>
              </a:xfrm>
              <a:prstGeom prst="flowChartMagneticDrum">
                <a:avLst/>
              </a:prstGeom>
              <a:ln w="349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BE"/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D360A393-3C80-4429-9F96-3ADBB92A5B90}"/>
                  </a:ext>
                </a:extLst>
              </p:cNvPr>
              <p:cNvSpPr/>
              <p:nvPr/>
            </p:nvSpPr>
            <p:spPr>
              <a:xfrm>
                <a:off x="8324850" y="3289492"/>
                <a:ext cx="82550" cy="755458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BE"/>
              </a:p>
            </p:txBody>
          </p:sp>
        </p:grpSp>
        <p:pic>
          <p:nvPicPr>
            <p:cNvPr id="39" name="Graphic 38" descr="Table with solid fill">
              <a:extLst>
                <a:ext uri="{FF2B5EF4-FFF2-40B4-BE49-F238E27FC236}">
                  <a16:creationId xmlns:a16="http://schemas.microsoft.com/office/drawing/2014/main" id="{7077C963-030F-40B5-A995-A4BD4004CC8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710908" y="2652173"/>
              <a:ext cx="1047454" cy="1047454"/>
            </a:xfrm>
            <a:prstGeom prst="rect">
              <a:avLst/>
            </a:prstGeom>
          </p:spPr>
        </p:pic>
        <p:pic>
          <p:nvPicPr>
            <p:cNvPr id="41" name="Graphic 40" descr="Table with solid fill">
              <a:extLst>
                <a:ext uri="{FF2B5EF4-FFF2-40B4-BE49-F238E27FC236}">
                  <a16:creationId xmlns:a16="http://schemas.microsoft.com/office/drawing/2014/main" id="{A92714C7-9BC0-4C72-9E9D-E0626084A2B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234635" y="3273165"/>
              <a:ext cx="1047454" cy="1047454"/>
            </a:xfrm>
            <a:prstGeom prst="rect">
              <a:avLst/>
            </a:prstGeom>
          </p:spPr>
        </p:pic>
        <p:pic>
          <p:nvPicPr>
            <p:cNvPr id="42" name="Graphic 41" descr="Server with solid fill">
              <a:extLst>
                <a:ext uri="{FF2B5EF4-FFF2-40B4-BE49-F238E27FC236}">
                  <a16:creationId xmlns:a16="http://schemas.microsoft.com/office/drawing/2014/main" id="{19B8AAA9-F92A-4288-B439-CCAFCA4DA25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710908" y="4306648"/>
              <a:ext cx="914400" cy="914400"/>
            </a:xfrm>
            <a:prstGeom prst="rect">
              <a:avLst/>
            </a:prstGeom>
          </p:spPr>
        </p:pic>
        <p:pic>
          <p:nvPicPr>
            <p:cNvPr id="44" name="Graphic 43" descr="Stopwatch with solid fill">
              <a:extLst>
                <a:ext uri="{FF2B5EF4-FFF2-40B4-BE49-F238E27FC236}">
                  <a16:creationId xmlns:a16="http://schemas.microsoft.com/office/drawing/2014/main" id="{224D5459-5409-4FBD-88DF-3488E60325B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759944" y="4289006"/>
              <a:ext cx="914400" cy="914400"/>
            </a:xfrm>
            <a:prstGeom prst="rect">
              <a:avLst/>
            </a:prstGeom>
          </p:spPr>
        </p:pic>
      </p:grpSp>
      <p:sp>
        <p:nvSpPr>
          <p:cNvPr id="45" name="Explosion: 8 Points 44">
            <a:extLst>
              <a:ext uri="{FF2B5EF4-FFF2-40B4-BE49-F238E27FC236}">
                <a16:creationId xmlns:a16="http://schemas.microsoft.com/office/drawing/2014/main" id="{CB0BAB4B-3A0E-4DC8-A31D-DEFE2FC63A4A}"/>
              </a:ext>
            </a:extLst>
          </p:cNvPr>
          <p:cNvSpPr/>
          <p:nvPr/>
        </p:nvSpPr>
        <p:spPr>
          <a:xfrm>
            <a:off x="1376361" y="4800616"/>
            <a:ext cx="1809750" cy="616393"/>
          </a:xfrm>
          <a:prstGeom prst="irregularSeal1">
            <a:avLst/>
          </a:prstGeom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ublish</a:t>
            </a:r>
            <a:endParaRPr lang="nl-BE" dirty="0"/>
          </a:p>
        </p:txBody>
      </p:sp>
      <p:pic>
        <p:nvPicPr>
          <p:cNvPr id="13316" name="Picture 4" descr="An Intricate Look at ARM Templates – Part 1 – Background and History —  Skylines Academy">
            <a:extLst>
              <a:ext uri="{FF2B5EF4-FFF2-40B4-BE49-F238E27FC236}">
                <a16:creationId xmlns:a16="http://schemas.microsoft.com/office/drawing/2014/main" id="{CE3CC49B-B805-495F-BD56-29B4042D2B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4246" y="4604745"/>
            <a:ext cx="792581" cy="7925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2267092B-A1FA-4126-8A8C-380A7548080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642160" y="3666593"/>
            <a:ext cx="769152" cy="769152"/>
          </a:xfrm>
          <a:prstGeom prst="rect">
            <a:avLst/>
          </a:prstGeom>
        </p:spPr>
      </p:pic>
      <p:sp>
        <p:nvSpPr>
          <p:cNvPr id="48" name="Arrow: Right 47">
            <a:extLst>
              <a:ext uri="{FF2B5EF4-FFF2-40B4-BE49-F238E27FC236}">
                <a16:creationId xmlns:a16="http://schemas.microsoft.com/office/drawing/2014/main" id="{39774655-466C-416B-89C8-E6C869FD7FE6}"/>
              </a:ext>
            </a:extLst>
          </p:cNvPr>
          <p:cNvSpPr/>
          <p:nvPr/>
        </p:nvSpPr>
        <p:spPr>
          <a:xfrm>
            <a:off x="5286375" y="4705350"/>
            <a:ext cx="1571625" cy="485775"/>
          </a:xfrm>
          <a:prstGeom prst="rightArrow">
            <a:avLst/>
          </a:prstGeom>
          <a:solidFill>
            <a:srgbClr val="188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0BD32F2D-8F8E-471B-8668-C7E1B7DE7EDC}"/>
              </a:ext>
            </a:extLst>
          </p:cNvPr>
          <p:cNvCxnSpPr>
            <a:cxnSpLocks/>
          </p:cNvCxnSpPr>
          <p:nvPr/>
        </p:nvCxnSpPr>
        <p:spPr>
          <a:xfrm flipH="1">
            <a:off x="2890836" y="2943225"/>
            <a:ext cx="1" cy="1223962"/>
          </a:xfrm>
          <a:prstGeom prst="straightConnector1">
            <a:avLst/>
          </a:prstGeom>
          <a:ln w="317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269B2C34-6467-4508-9364-0CDC6DA80A7F}"/>
              </a:ext>
            </a:extLst>
          </p:cNvPr>
          <p:cNvCxnSpPr>
            <a:cxnSpLocks/>
          </p:cNvCxnSpPr>
          <p:nvPr/>
        </p:nvCxnSpPr>
        <p:spPr>
          <a:xfrm flipV="1">
            <a:off x="1990725" y="4147596"/>
            <a:ext cx="900111" cy="421114"/>
          </a:xfrm>
          <a:prstGeom prst="line">
            <a:avLst/>
          </a:prstGeom>
          <a:ln w="31750">
            <a:solidFill>
              <a:schemeClr val="bg1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75D00B97-7F81-41A0-BF7B-C448D4BD13B7}"/>
              </a:ext>
            </a:extLst>
          </p:cNvPr>
          <p:cNvSpPr txBox="1"/>
          <p:nvPr/>
        </p:nvSpPr>
        <p:spPr>
          <a:xfrm>
            <a:off x="2333626" y="4297147"/>
            <a:ext cx="14954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pull request</a:t>
            </a:r>
            <a:endParaRPr lang="nl-B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21539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37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0.13958 L 0.09935 -0.25347 C 0.12005 -0.27894 0.15117 -0.29236 0.18372 -0.29236 C 0.22083 -0.29236 0.25052 -0.27894 0.27122 -0.25347 L 0.3707 -0.13958 " pathEditMode="relative" rAng="0" ptsTypes="AAAAA">
                                      <p:cBhvr>
                                        <p:cTn id="25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529" y="-763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30B25E8-65B9-4D76-ABEF-D4D1D4BC292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8174568" cy="3015766"/>
          </a:xfrm>
        </p:spPr>
        <p:txBody>
          <a:bodyPr>
            <a:normAutofit/>
          </a:bodyPr>
          <a:lstStyle/>
          <a:p>
            <a:r>
              <a:rPr lang="en-US" sz="8800" dirty="0"/>
              <a:t>what is Azure Data Factory?</a:t>
            </a:r>
            <a:endParaRPr lang="nl-BE" sz="8800" dirty="0"/>
          </a:p>
        </p:txBody>
      </p:sp>
    </p:spTree>
    <p:extLst>
      <p:ext uri="{BB962C8B-B14F-4D97-AF65-F5344CB8AC3E}">
        <p14:creationId xmlns:p14="http://schemas.microsoft.com/office/powerpoint/2010/main" val="258109596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30B25E8-65B9-4D76-ABEF-D4D1D4BC292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8174568" cy="3015766"/>
          </a:xfrm>
        </p:spPr>
        <p:txBody>
          <a:bodyPr>
            <a:normAutofit/>
          </a:bodyPr>
          <a:lstStyle/>
          <a:p>
            <a:r>
              <a:rPr lang="en-US" sz="8800" dirty="0"/>
              <a:t>metadata ftw</a:t>
            </a:r>
            <a:endParaRPr lang="nl-BE" sz="8800" dirty="0"/>
          </a:p>
        </p:txBody>
      </p:sp>
    </p:spTree>
    <p:extLst>
      <p:ext uri="{BB962C8B-B14F-4D97-AF65-F5344CB8AC3E}">
        <p14:creationId xmlns:p14="http://schemas.microsoft.com/office/powerpoint/2010/main" val="248223775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920F31D-0130-46CE-BD74-AF2DA2AFAE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ameterize everything</a:t>
            </a:r>
            <a:endParaRPr lang="nl-BE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9BA2B00-4226-44A4-BE6E-D4813C40CB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2116" y="1414673"/>
            <a:ext cx="6904318" cy="496105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9A2EBAD-69FA-41DF-A9A8-EC53EF3710C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30721"/>
          <a:stretch/>
        </p:blipFill>
        <p:spPr>
          <a:xfrm>
            <a:off x="5318481" y="4152900"/>
            <a:ext cx="6431837" cy="2053718"/>
          </a:xfrm>
          <a:prstGeom prst="rect">
            <a:avLst/>
          </a:prstGeom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A3DE0DF-DB67-48A8-8220-587ABF5E2286}"/>
              </a:ext>
            </a:extLst>
          </p:cNvPr>
          <p:cNvCxnSpPr>
            <a:cxnSpLocks/>
          </p:cNvCxnSpPr>
          <p:nvPr/>
        </p:nvCxnSpPr>
        <p:spPr>
          <a:xfrm>
            <a:off x="5076092" y="2099182"/>
            <a:ext cx="0" cy="1241895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C71EA53D-37A2-4EBC-ACF6-98C3F4E53963}"/>
              </a:ext>
            </a:extLst>
          </p:cNvPr>
          <p:cNvCxnSpPr>
            <a:cxnSpLocks/>
          </p:cNvCxnSpPr>
          <p:nvPr/>
        </p:nvCxnSpPr>
        <p:spPr>
          <a:xfrm flipH="1">
            <a:off x="2672862" y="2099182"/>
            <a:ext cx="2403230" cy="2053718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</p:spTree>
    <p:extLst>
      <p:ext uri="{BB962C8B-B14F-4D97-AF65-F5344CB8AC3E}">
        <p14:creationId xmlns:p14="http://schemas.microsoft.com/office/powerpoint/2010/main" val="28177122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7B019D-7122-4376-8DA1-EB6B443021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ameterize everything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CDB4D39-914F-4FB6-951D-F673BF8ADF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6828" y="1706816"/>
            <a:ext cx="8222693" cy="146316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05F1F79-48B3-498F-AB79-94FD0E6A62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6828" y="3688018"/>
            <a:ext cx="4564776" cy="2979678"/>
          </a:xfrm>
          <a:prstGeom prst="rect">
            <a:avLst/>
          </a:prstGeom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7706D64C-C664-4B80-A969-6EF0920F15C7}"/>
              </a:ext>
            </a:extLst>
          </p:cNvPr>
          <p:cNvCxnSpPr>
            <a:cxnSpLocks/>
          </p:cNvCxnSpPr>
          <p:nvPr/>
        </p:nvCxnSpPr>
        <p:spPr>
          <a:xfrm flipV="1">
            <a:off x="5603631" y="2977442"/>
            <a:ext cx="273294" cy="1078743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5119B61-2193-4FC9-8454-69154CBA0224}"/>
              </a:ext>
            </a:extLst>
          </p:cNvPr>
          <p:cNvCxnSpPr>
            <a:cxnSpLocks/>
          </p:cNvCxnSpPr>
          <p:nvPr/>
        </p:nvCxnSpPr>
        <p:spPr>
          <a:xfrm flipH="1" flipV="1">
            <a:off x="3681046" y="2860431"/>
            <a:ext cx="1922585" cy="1195754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</p:spTree>
    <p:extLst>
      <p:ext uri="{BB962C8B-B14F-4D97-AF65-F5344CB8AC3E}">
        <p14:creationId xmlns:p14="http://schemas.microsoft.com/office/powerpoint/2010/main" val="155249376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743984-E13E-4375-80E3-654D786E6E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tch metadata &amp; loop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21442AF-7937-4554-B923-4A34F781AF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7383" y="2977442"/>
            <a:ext cx="4541914" cy="168416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F26214D-0ED8-4E3D-B0C3-F66A137866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70883" y="1733342"/>
            <a:ext cx="6393734" cy="4801016"/>
          </a:xfrm>
          <a:prstGeom prst="rect">
            <a:avLst/>
          </a:prstGeom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D6FD5C82-2289-472F-907B-E77E2C6C7C3E}"/>
              </a:ext>
            </a:extLst>
          </p:cNvPr>
          <p:cNvCxnSpPr>
            <a:cxnSpLocks/>
          </p:cNvCxnSpPr>
          <p:nvPr/>
        </p:nvCxnSpPr>
        <p:spPr>
          <a:xfrm flipV="1">
            <a:off x="3876675" y="2977442"/>
            <a:ext cx="2000250" cy="1180220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778A532E-3599-42FF-9D21-0B823600FC1F}"/>
              </a:ext>
            </a:extLst>
          </p:cNvPr>
          <p:cNvSpPr txBox="1"/>
          <p:nvPr/>
        </p:nvSpPr>
        <p:spPr>
          <a:xfrm>
            <a:off x="8794505" y="4661608"/>
            <a:ext cx="2846509" cy="1176744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8846480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991D3D-B4D2-47EE-9C2D-B55367F9B0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ll in parameters at runtime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8ECADBA-4BF2-4F20-9A86-C998FD04E0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6677" y="1495276"/>
            <a:ext cx="5799323" cy="342929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819E5FB-CF9C-41AE-BA6B-1B0E0CEEE9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8637" y="4785180"/>
            <a:ext cx="5707875" cy="2072820"/>
          </a:xfrm>
          <a:prstGeom prst="rect">
            <a:avLst/>
          </a:prstGeom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B2E39FB2-EDD9-4181-B7DC-1EF439F469E8}"/>
              </a:ext>
            </a:extLst>
          </p:cNvPr>
          <p:cNvCxnSpPr>
            <a:cxnSpLocks/>
          </p:cNvCxnSpPr>
          <p:nvPr/>
        </p:nvCxnSpPr>
        <p:spPr>
          <a:xfrm flipV="1">
            <a:off x="2838450" y="4785180"/>
            <a:ext cx="0" cy="825045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897A74DA-4F10-4C36-8A95-DED29E7C06E3}"/>
              </a:ext>
            </a:extLst>
          </p:cNvPr>
          <p:cNvSpPr txBox="1"/>
          <p:nvPr/>
        </p:nvSpPr>
        <p:spPr>
          <a:xfrm>
            <a:off x="1049530" y="5686425"/>
            <a:ext cx="35778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use dynamic content</a:t>
            </a:r>
            <a:endParaRPr lang="nl-BE" sz="2400" dirty="0">
              <a:solidFill>
                <a:srgbClr val="FF0000"/>
              </a:solidFill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5A0860C2-E349-4A66-AA18-3F90993F4C60}"/>
              </a:ext>
            </a:extLst>
          </p:cNvPr>
          <p:cNvCxnSpPr>
            <a:cxnSpLocks/>
          </p:cNvCxnSpPr>
          <p:nvPr/>
        </p:nvCxnSpPr>
        <p:spPr>
          <a:xfrm flipH="1">
            <a:off x="7800975" y="3738265"/>
            <a:ext cx="1181100" cy="2300585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80971B56-C51B-4B9E-B9CB-2AA441125B86}"/>
              </a:ext>
            </a:extLst>
          </p:cNvPr>
          <p:cNvSpPr txBox="1"/>
          <p:nvPr/>
        </p:nvSpPr>
        <p:spPr>
          <a:xfrm>
            <a:off x="7383654" y="2907268"/>
            <a:ext cx="35778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no need for mapping in simple use cases</a:t>
            </a:r>
            <a:endParaRPr lang="nl-BE" sz="2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30456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2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A00F838-93BD-46A0-9675-42AED121CE6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lIns="0">
            <a:normAutofit fontScale="90000"/>
          </a:bodyPr>
          <a:lstStyle/>
          <a:p>
            <a:r>
              <a:rPr lang="en-US" sz="13800" dirty="0"/>
              <a:t>DEMO</a:t>
            </a:r>
            <a:endParaRPr lang="nl-BE" sz="13800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6E0D2489-6A42-4C2F-AC08-FE9B6654986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06444" y="2772605"/>
            <a:ext cx="7674590" cy="728803"/>
          </a:xfrm>
        </p:spPr>
        <p:txBody>
          <a:bodyPr>
            <a:normAutofit/>
          </a:bodyPr>
          <a:lstStyle/>
          <a:p>
            <a:r>
              <a:rPr lang="en-US" sz="2800" dirty="0"/>
              <a:t>dynamically import Excel files</a:t>
            </a:r>
            <a:endParaRPr lang="nl-BE" sz="2800" dirty="0"/>
          </a:p>
        </p:txBody>
      </p:sp>
    </p:spTree>
    <p:extLst>
      <p:ext uri="{BB962C8B-B14F-4D97-AF65-F5344CB8AC3E}">
        <p14:creationId xmlns:p14="http://schemas.microsoft.com/office/powerpoint/2010/main" val="262771326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30B25E8-65B9-4D76-ABEF-D4D1D4BC292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8174568" cy="3015766"/>
          </a:xfrm>
        </p:spPr>
        <p:txBody>
          <a:bodyPr>
            <a:normAutofit/>
          </a:bodyPr>
          <a:lstStyle/>
          <a:p>
            <a:r>
              <a:rPr lang="en-US" sz="8800" dirty="0"/>
              <a:t>cost</a:t>
            </a:r>
            <a:endParaRPr lang="nl-BE" sz="8800" dirty="0"/>
          </a:p>
        </p:txBody>
      </p:sp>
    </p:spTree>
    <p:extLst>
      <p:ext uri="{BB962C8B-B14F-4D97-AF65-F5344CB8AC3E}">
        <p14:creationId xmlns:p14="http://schemas.microsoft.com/office/powerpoint/2010/main" val="4187436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F1EC3D8-C3D7-4A00-AB45-B5DCC9FCC6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4954" y="325521"/>
            <a:ext cx="9586791" cy="538780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B4029CD-E9D8-4EEC-90D5-DFC086C64A75}"/>
              </a:ext>
            </a:extLst>
          </p:cNvPr>
          <p:cNvSpPr txBox="1"/>
          <p:nvPr/>
        </p:nvSpPr>
        <p:spPr>
          <a:xfrm>
            <a:off x="1162050" y="5934075"/>
            <a:ext cx="5791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3"/>
              </a:rPr>
              <a:t>https://youtube.com/watch?v=Fct1dcZMyW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808248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2DF371-E959-44C9-8677-0FFB64FC29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ortant to remember</a:t>
            </a:r>
            <a:endParaRPr lang="nl-BE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68FC4B6-A776-44C2-AB41-6E5851324022}"/>
              </a:ext>
            </a:extLst>
          </p:cNvPr>
          <p:cNvSpPr txBox="1"/>
          <p:nvPr/>
        </p:nvSpPr>
        <p:spPr>
          <a:xfrm>
            <a:off x="914400" y="1695450"/>
            <a:ext cx="924877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200" dirty="0"/>
              <a:t>ALL ACTIVITIES ARE PRO-RATED BY THE </a:t>
            </a:r>
            <a:r>
              <a:rPr lang="en-US" sz="7200" b="1" dirty="0"/>
              <a:t>MINUTE</a:t>
            </a:r>
          </a:p>
          <a:p>
            <a:r>
              <a:rPr lang="en-US" sz="7200" dirty="0"/>
              <a:t>AND ROUNDED </a:t>
            </a:r>
            <a:r>
              <a:rPr lang="en-US" sz="7200" b="1" dirty="0"/>
              <a:t>UP</a:t>
            </a:r>
            <a:endParaRPr lang="nl-BE" sz="7200" b="1" dirty="0"/>
          </a:p>
        </p:txBody>
      </p:sp>
    </p:spTree>
    <p:extLst>
      <p:ext uri="{BB962C8B-B14F-4D97-AF65-F5344CB8AC3E}">
        <p14:creationId xmlns:p14="http://schemas.microsoft.com/office/powerpoint/2010/main" val="132313875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4323B4-E04A-4AE0-B1A9-F5C67F7B15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</a:t>
            </a:r>
            <a:endParaRPr lang="nl-B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6614611-C783-4DC0-968A-A23B8C5C40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9821" y="1566206"/>
            <a:ext cx="7232007" cy="4938188"/>
          </a:xfrm>
          <a:prstGeom prst="rect">
            <a:avLst/>
          </a:prstGeom>
        </p:spPr>
      </p:pic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A50FE6DE-FA73-4678-8B05-685D1B273AF3}"/>
              </a:ext>
            </a:extLst>
          </p:cNvPr>
          <p:cNvCxnSpPr>
            <a:cxnSpLocks/>
          </p:cNvCxnSpPr>
          <p:nvPr/>
        </p:nvCxnSpPr>
        <p:spPr>
          <a:xfrm flipH="1">
            <a:off x="6443149" y="4333875"/>
            <a:ext cx="2110300" cy="1333500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5BE3D2C2-5E70-4946-B00A-95535DFFE32E}"/>
              </a:ext>
            </a:extLst>
          </p:cNvPr>
          <p:cNvSpPr txBox="1"/>
          <p:nvPr/>
        </p:nvSpPr>
        <p:spPr>
          <a:xfrm>
            <a:off x="8459979" y="3502878"/>
            <a:ext cx="35778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2 minutes and 23 seconds runtime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9355566-1936-40EB-BA53-9FDE8ACCBFEF}"/>
              </a:ext>
            </a:extLst>
          </p:cNvPr>
          <p:cNvSpPr txBox="1"/>
          <p:nvPr/>
        </p:nvSpPr>
        <p:spPr>
          <a:xfrm>
            <a:off x="5781675" y="5327650"/>
            <a:ext cx="661474" cy="1176744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1231372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2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574E7B1-E79F-43CA-859E-52003EED33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6"/>
            <a:ext cx="10002850" cy="3837277"/>
          </a:xfrm>
        </p:spPr>
        <p:txBody>
          <a:bodyPr>
            <a:noAutofit/>
          </a:bodyPr>
          <a:lstStyle/>
          <a:p>
            <a:pPr algn="l"/>
            <a:r>
              <a:rPr lang="en-US" sz="3600" b="0" i="1" dirty="0">
                <a:solidFill>
                  <a:srgbClr val="6F6F6F"/>
                </a:solidFill>
                <a:effectLst/>
                <a:latin typeface="Helvetica Neue"/>
              </a:rPr>
              <a:t>A fully managed, serverless data integration service. Visually integrate data sources with more than 90 built-in connectors at no added cost. Easily construct ETL and ELT processes code-free in an intuitive environment or write your own code.</a:t>
            </a:r>
            <a:endParaRPr lang="nl-BE" sz="3600" dirty="0"/>
          </a:p>
        </p:txBody>
      </p:sp>
    </p:spTree>
    <p:extLst>
      <p:ext uri="{BB962C8B-B14F-4D97-AF65-F5344CB8AC3E}">
        <p14:creationId xmlns:p14="http://schemas.microsoft.com/office/powerpoint/2010/main" val="354861503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4323B4-E04A-4AE0-B1A9-F5C67F7B15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E3AD832-3A9B-4264-9D55-C3B4E08319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870" y="1936374"/>
            <a:ext cx="6506316" cy="2985251"/>
          </a:xfrm>
          <a:prstGeom prst="rect">
            <a:avLst/>
          </a:prstGeom>
        </p:spPr>
      </p:pic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C5A3BC99-AEB3-4ECE-A1F7-3605D0AF2DBB}"/>
              </a:ext>
            </a:extLst>
          </p:cNvPr>
          <p:cNvCxnSpPr>
            <a:cxnSpLocks/>
          </p:cNvCxnSpPr>
          <p:nvPr/>
        </p:nvCxnSpPr>
        <p:spPr>
          <a:xfrm flipV="1">
            <a:off x="2886075" y="4562475"/>
            <a:ext cx="1343025" cy="765175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AD252D67-937F-4B3D-B625-3AAA873761D9}"/>
              </a:ext>
            </a:extLst>
          </p:cNvPr>
          <p:cNvSpPr txBox="1"/>
          <p:nvPr/>
        </p:nvSpPr>
        <p:spPr>
          <a:xfrm>
            <a:off x="1430529" y="5205710"/>
            <a:ext cx="35778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1 minute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8E8D184-B026-4DF3-8692-5AAE8ACA3DFC}"/>
              </a:ext>
            </a:extLst>
          </p:cNvPr>
          <p:cNvSpPr txBox="1"/>
          <p:nvPr/>
        </p:nvSpPr>
        <p:spPr>
          <a:xfrm>
            <a:off x="4229101" y="4362449"/>
            <a:ext cx="476250" cy="243293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EF00ECE-F850-4C6E-9845-E782995A8810}"/>
              </a:ext>
            </a:extLst>
          </p:cNvPr>
          <p:cNvSpPr txBox="1"/>
          <p:nvPr/>
        </p:nvSpPr>
        <p:spPr>
          <a:xfrm>
            <a:off x="4229100" y="4620434"/>
            <a:ext cx="476250" cy="243293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8E9038BA-502D-4F06-B09E-224EF22C66DB}"/>
              </a:ext>
            </a:extLst>
          </p:cNvPr>
          <p:cNvCxnSpPr>
            <a:cxnSpLocks/>
          </p:cNvCxnSpPr>
          <p:nvPr/>
        </p:nvCxnSpPr>
        <p:spPr>
          <a:xfrm flipV="1">
            <a:off x="2886075" y="4893050"/>
            <a:ext cx="1343025" cy="765175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99CE7A63-F834-4775-B813-0939E01CD640}"/>
              </a:ext>
            </a:extLst>
          </p:cNvPr>
          <p:cNvSpPr txBox="1"/>
          <p:nvPr/>
        </p:nvSpPr>
        <p:spPr>
          <a:xfrm>
            <a:off x="1430529" y="5564860"/>
            <a:ext cx="19222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2 minutes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61974B3-66A3-46B7-A6A9-3E8BD80CF42F}"/>
              </a:ext>
            </a:extLst>
          </p:cNvPr>
          <p:cNvSpPr txBox="1"/>
          <p:nvPr/>
        </p:nvSpPr>
        <p:spPr>
          <a:xfrm>
            <a:off x="7238999" y="1182308"/>
            <a:ext cx="4695825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rchestration (Azure-IR): $0.001/run</a:t>
            </a:r>
          </a:p>
          <a:p>
            <a:endParaRPr lang="en-US" dirty="0"/>
          </a:p>
          <a:p>
            <a:r>
              <a:rPr lang="en-US" dirty="0"/>
              <a:t>Pipeline (Azure-IR): $0.005/hour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US" dirty="0">
                <a:sym typeface="Wingdings" panose="05000000000000000000" pitchFamily="2" charset="2"/>
              </a:rPr>
              <a:t>$0,0000835/run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External (Azure-IR): $0.00025/hour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US" dirty="0">
                <a:sym typeface="Wingdings" panose="05000000000000000000" pitchFamily="2" charset="2"/>
              </a:rPr>
              <a:t>$0,000008325/run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Data Movement (Azure-IR): $0,25/hour</a:t>
            </a:r>
          </a:p>
          <a:p>
            <a:r>
              <a:rPr lang="en-US" dirty="0">
                <a:sym typeface="Wingdings" panose="05000000000000000000" pitchFamily="2" charset="2"/>
              </a:rPr>
              <a:t> 2 * 1.6667 * $0.25 = $0,83335/run</a:t>
            </a:r>
          </a:p>
          <a:p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$0,834441825 / run</a:t>
            </a:r>
          </a:p>
          <a:p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once every day:        $25.03</a:t>
            </a:r>
          </a:p>
          <a:p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once every hour:     $600.80</a:t>
            </a:r>
          </a:p>
          <a:p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once every 5 min: </a:t>
            </a:r>
            <a:r>
              <a:rPr lang="en-US" sz="1100" dirty="0">
                <a:solidFill>
                  <a:srgbClr val="00188F"/>
                </a:solidFill>
                <a:sym typeface="Wingdings" panose="05000000000000000000" pitchFamily="2" charset="2"/>
              </a:rPr>
              <a:t> </a:t>
            </a:r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$7209.58</a:t>
            </a:r>
          </a:p>
          <a:p>
            <a:endParaRPr lang="nl-BE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7C2E6A7-35DF-4A17-9DCD-729E64631BB1}"/>
              </a:ext>
            </a:extLst>
          </p:cNvPr>
          <p:cNvSpPr txBox="1"/>
          <p:nvPr/>
        </p:nvSpPr>
        <p:spPr>
          <a:xfrm>
            <a:off x="4229100" y="4097149"/>
            <a:ext cx="476250" cy="243293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EDFBD984-CA8E-471D-BAB5-B73B831DD999}"/>
              </a:ext>
            </a:extLst>
          </p:cNvPr>
          <p:cNvCxnSpPr>
            <a:cxnSpLocks/>
          </p:cNvCxnSpPr>
          <p:nvPr/>
        </p:nvCxnSpPr>
        <p:spPr>
          <a:xfrm flipH="1" flipV="1">
            <a:off x="4705350" y="4218795"/>
            <a:ext cx="866775" cy="1056842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6E5DA55E-B958-4BD7-BE01-4F1A700EC61B}"/>
              </a:ext>
            </a:extLst>
          </p:cNvPr>
          <p:cNvSpPr txBox="1"/>
          <p:nvPr/>
        </p:nvSpPr>
        <p:spPr>
          <a:xfrm>
            <a:off x="4860034" y="5282362"/>
            <a:ext cx="21789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100 minutes!</a:t>
            </a:r>
            <a:endParaRPr lang="nl-BE" sz="2400" dirty="0">
              <a:solidFill>
                <a:srgbClr val="FF0000"/>
              </a:solidFill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4B4435A8-47CA-433D-B60C-A843173F7D3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50046" y="3387363"/>
            <a:ext cx="4427604" cy="823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25276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2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12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12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12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12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animBg="1"/>
      <p:bldP spid="9" grpId="0" animBg="1"/>
      <p:bldP spid="11" grpId="0"/>
      <p:bldP spid="13" grpId="0" animBg="1"/>
      <p:bldP spid="18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963791-5646-E175-AED2-09D26DB22A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5506A54-8BFD-4C97-607D-D00DE407EC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5641" y="2123599"/>
            <a:ext cx="7240137" cy="2610801"/>
          </a:xfrm>
          <a:prstGeom prst="rect">
            <a:avLst/>
          </a:prstGeom>
        </p:spPr>
      </p:pic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ECB29B92-FFD7-7274-A036-E688E84D241B}"/>
              </a:ext>
            </a:extLst>
          </p:cNvPr>
          <p:cNvCxnSpPr>
            <a:cxnSpLocks/>
          </p:cNvCxnSpPr>
          <p:nvPr/>
        </p:nvCxnSpPr>
        <p:spPr>
          <a:xfrm flipV="1">
            <a:off x="3354998" y="4398189"/>
            <a:ext cx="1343025" cy="765175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3ACB5812-1F45-C4FC-C2B3-928F026DEDA9}"/>
              </a:ext>
            </a:extLst>
          </p:cNvPr>
          <p:cNvSpPr txBox="1"/>
          <p:nvPr/>
        </p:nvSpPr>
        <p:spPr>
          <a:xfrm>
            <a:off x="1899452" y="5041424"/>
            <a:ext cx="35778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1 minute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19677FE-8CE9-2C1E-302C-41CEABDE927B}"/>
              </a:ext>
            </a:extLst>
          </p:cNvPr>
          <p:cNvSpPr txBox="1"/>
          <p:nvPr/>
        </p:nvSpPr>
        <p:spPr>
          <a:xfrm>
            <a:off x="4698024" y="4198163"/>
            <a:ext cx="476250" cy="243293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F45962B-1F6F-E922-2B21-50D6FC2F0124}"/>
              </a:ext>
            </a:extLst>
          </p:cNvPr>
          <p:cNvSpPr txBox="1"/>
          <p:nvPr/>
        </p:nvSpPr>
        <p:spPr>
          <a:xfrm>
            <a:off x="4698023" y="4456148"/>
            <a:ext cx="476250" cy="243293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5065B180-3E32-3B01-982A-F7F33564E680}"/>
              </a:ext>
            </a:extLst>
          </p:cNvPr>
          <p:cNvCxnSpPr>
            <a:cxnSpLocks/>
          </p:cNvCxnSpPr>
          <p:nvPr/>
        </p:nvCxnSpPr>
        <p:spPr>
          <a:xfrm flipV="1">
            <a:off x="3354998" y="4728764"/>
            <a:ext cx="1343025" cy="765175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C14D09BA-68A6-A615-F79D-F24E8517279B}"/>
              </a:ext>
            </a:extLst>
          </p:cNvPr>
          <p:cNvSpPr txBox="1"/>
          <p:nvPr/>
        </p:nvSpPr>
        <p:spPr>
          <a:xfrm>
            <a:off x="1899452" y="5400574"/>
            <a:ext cx="19222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104 minutes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D3BC0DE-EAE4-F1E4-FC90-2E5AF69EC0A9}"/>
              </a:ext>
            </a:extLst>
          </p:cNvPr>
          <p:cNvSpPr txBox="1"/>
          <p:nvPr/>
        </p:nvSpPr>
        <p:spPr>
          <a:xfrm>
            <a:off x="4698023" y="3932863"/>
            <a:ext cx="476250" cy="243293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C2E015C3-3D12-9B68-B232-9AD074EB0389}"/>
              </a:ext>
            </a:extLst>
          </p:cNvPr>
          <p:cNvCxnSpPr>
            <a:cxnSpLocks/>
          </p:cNvCxnSpPr>
          <p:nvPr/>
        </p:nvCxnSpPr>
        <p:spPr>
          <a:xfrm flipH="1" flipV="1">
            <a:off x="5174273" y="4054509"/>
            <a:ext cx="866775" cy="1056842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1C4D62FE-AB2B-9D61-8A7A-976B217FFE96}"/>
              </a:ext>
            </a:extLst>
          </p:cNvPr>
          <p:cNvSpPr txBox="1"/>
          <p:nvPr/>
        </p:nvSpPr>
        <p:spPr>
          <a:xfrm>
            <a:off x="5328957" y="5118076"/>
            <a:ext cx="21789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0 minutes!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877B906-13EE-4524-4A10-65005F19B572}"/>
              </a:ext>
            </a:extLst>
          </p:cNvPr>
          <p:cNvSpPr txBox="1"/>
          <p:nvPr/>
        </p:nvSpPr>
        <p:spPr>
          <a:xfrm>
            <a:off x="7627380" y="1116707"/>
            <a:ext cx="4695825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rchestration (Azure-IR): $0.001/run</a:t>
            </a:r>
          </a:p>
          <a:p>
            <a:endParaRPr lang="en-US" dirty="0"/>
          </a:p>
          <a:p>
            <a:r>
              <a:rPr lang="en-US" dirty="0"/>
              <a:t>Pipeline (Azure-IR): $0.005/hour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US" dirty="0">
                <a:sym typeface="Wingdings" panose="05000000000000000000" pitchFamily="2" charset="2"/>
              </a:rPr>
              <a:t>$0,0000835/run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External (Azure-IR): $0.00025/hour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US" dirty="0">
                <a:sym typeface="Wingdings" panose="05000000000000000000" pitchFamily="2" charset="2"/>
              </a:rPr>
              <a:t>$0,000433325/run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US" dirty="0">
                <a:sym typeface="Wingdings" panose="05000000000000000000" pitchFamily="2" charset="2"/>
              </a:rPr>
              <a:t>+ cost of Azure Function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$0,001516825 / run</a:t>
            </a:r>
          </a:p>
          <a:p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once every day:          $0.05</a:t>
            </a:r>
          </a:p>
          <a:p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once every hour:         $1.09</a:t>
            </a:r>
          </a:p>
          <a:p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once every 5 min: </a:t>
            </a:r>
            <a:r>
              <a:rPr lang="en-US" sz="1100" dirty="0">
                <a:solidFill>
                  <a:srgbClr val="00188F"/>
                </a:solidFill>
                <a:sym typeface="Wingdings" panose="05000000000000000000" pitchFamily="2" charset="2"/>
              </a:rPr>
              <a:t>        </a:t>
            </a:r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$13.11</a:t>
            </a:r>
          </a:p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9893416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4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14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14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animBg="1"/>
      <p:bldP spid="8" grpId="0" animBg="1"/>
      <p:bldP spid="10" grpId="0"/>
      <p:bldP spid="11" grpId="0" animBg="1"/>
      <p:bldP spid="13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30B25E8-65B9-4D76-ABEF-D4D1D4BC292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8174568" cy="3015766"/>
          </a:xfrm>
        </p:spPr>
        <p:txBody>
          <a:bodyPr>
            <a:normAutofit/>
          </a:bodyPr>
          <a:lstStyle/>
          <a:p>
            <a:r>
              <a:rPr lang="en-US" sz="8800" dirty="0"/>
              <a:t>conclusion</a:t>
            </a:r>
            <a:endParaRPr lang="nl-BE" sz="8800" dirty="0"/>
          </a:p>
        </p:txBody>
      </p:sp>
    </p:spTree>
    <p:extLst>
      <p:ext uri="{BB962C8B-B14F-4D97-AF65-F5344CB8AC3E}">
        <p14:creationId xmlns:p14="http://schemas.microsoft.com/office/powerpoint/2010/main" val="44804094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489F0C6-5408-4D92-AAE0-AB4F2660C0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  <a:endParaRPr lang="nl-B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B780BED-E3D6-421F-9392-0C53B486B8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DF is an easy to use, scalable, visual, ELT data integration service</a:t>
            </a:r>
          </a:p>
          <a:p>
            <a:endParaRPr lang="en-US" dirty="0"/>
          </a:p>
          <a:p>
            <a:r>
              <a:rPr lang="en-US" dirty="0"/>
              <a:t>it integrates nicely with git and Azure Devops</a:t>
            </a:r>
          </a:p>
          <a:p>
            <a:endParaRPr lang="en-US" dirty="0"/>
          </a:p>
          <a:p>
            <a:r>
              <a:rPr lang="en-US" dirty="0"/>
              <a:t>many connectors out-of-the-box</a:t>
            </a:r>
          </a:p>
          <a:p>
            <a:endParaRPr lang="en-US" dirty="0"/>
          </a:p>
          <a:p>
            <a:r>
              <a:rPr lang="en-US" dirty="0"/>
              <a:t>don’t fall into old patterns</a:t>
            </a:r>
          </a:p>
          <a:p>
            <a:endParaRPr lang="en-US" dirty="0"/>
          </a:p>
          <a:p>
            <a:r>
              <a:rPr lang="en-US" dirty="0"/>
              <a:t>it’s definitely not a streaming service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7234027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589A62-D62C-44A7-A932-A8CFF61D68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5DBE023-91DF-46E4-8605-9B11981CD9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Cathrine</a:t>
            </a:r>
            <a:r>
              <a:rPr lang="en-US" dirty="0"/>
              <a:t> Wilhelmsen - </a:t>
            </a:r>
            <a:r>
              <a:rPr lang="en-US" dirty="0">
                <a:hlinkClick r:id="rId2"/>
              </a:rPr>
              <a:t>Beginner's Guide to Azure Data Factory</a:t>
            </a:r>
            <a:endParaRPr lang="en-US" dirty="0"/>
          </a:p>
          <a:p>
            <a:r>
              <a:rPr lang="en-US" dirty="0"/>
              <a:t>Andy Leonard – </a:t>
            </a:r>
            <a:r>
              <a:rPr lang="en-US" dirty="0">
                <a:hlinkClick r:id="rId3"/>
              </a:rPr>
              <a:t>Blog about SSIS and ADF</a:t>
            </a:r>
            <a:endParaRPr lang="en-US" dirty="0"/>
          </a:p>
          <a:p>
            <a:r>
              <a:rPr lang="en-US" dirty="0"/>
              <a:t>Paul Andrew – </a:t>
            </a:r>
            <a:r>
              <a:rPr lang="en-US" dirty="0">
                <a:hlinkClick r:id="rId4"/>
              </a:rPr>
              <a:t>Blog about ADF</a:t>
            </a:r>
            <a:endParaRPr lang="en-US" dirty="0"/>
          </a:p>
          <a:p>
            <a:r>
              <a:rPr lang="en-US" dirty="0"/>
              <a:t>MSSQLTips.com – </a:t>
            </a:r>
            <a:r>
              <a:rPr lang="en-US" dirty="0">
                <a:hlinkClick r:id="rId5"/>
              </a:rPr>
              <a:t>All ADF Tips</a:t>
            </a:r>
            <a:r>
              <a:rPr lang="en-US" dirty="0"/>
              <a:t> &amp; </a:t>
            </a:r>
            <a:r>
              <a:rPr lang="en-US" dirty="0">
                <a:hlinkClick r:id="rId6"/>
              </a:rPr>
              <a:t>Intro to ADF tutorial</a:t>
            </a:r>
            <a:endParaRPr lang="en-US" dirty="0"/>
          </a:p>
          <a:p>
            <a:r>
              <a:rPr lang="en-US" dirty="0"/>
              <a:t>Lots of conferences have recordings online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2022239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574E7B1-E79F-43CA-859E-52003EED33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4" y="1796606"/>
            <a:ext cx="10271515" cy="3837277"/>
          </a:xfrm>
        </p:spPr>
        <p:txBody>
          <a:bodyPr>
            <a:noAutofit/>
          </a:bodyPr>
          <a:lstStyle/>
          <a:p>
            <a:pPr algn="l"/>
            <a:r>
              <a:rPr lang="en-US" sz="3600" b="0" i="1" dirty="0">
                <a:solidFill>
                  <a:srgbClr val="6F6F6F"/>
                </a:solidFill>
                <a:effectLst/>
                <a:latin typeface="Helvetica Neue"/>
              </a:rPr>
              <a:t>A fully managed, </a:t>
            </a:r>
            <a:r>
              <a:rPr lang="en-US" sz="4000" b="1" i="1" dirty="0">
                <a:solidFill>
                  <a:srgbClr val="6F6F6F"/>
                </a:solidFill>
                <a:effectLst/>
                <a:latin typeface="Helvetica Neue"/>
              </a:rPr>
              <a:t>serverless data integration</a:t>
            </a:r>
            <a:r>
              <a:rPr lang="en-US" sz="3600" b="1" i="1" dirty="0">
                <a:solidFill>
                  <a:srgbClr val="6F6F6F"/>
                </a:solidFill>
                <a:effectLst/>
                <a:latin typeface="Helvetica Neue"/>
              </a:rPr>
              <a:t> </a:t>
            </a:r>
            <a:r>
              <a:rPr lang="en-US" sz="3600" b="0" i="1" dirty="0">
                <a:solidFill>
                  <a:srgbClr val="6F6F6F"/>
                </a:solidFill>
                <a:effectLst/>
                <a:latin typeface="Helvetica Neue"/>
              </a:rPr>
              <a:t>service. </a:t>
            </a:r>
            <a:r>
              <a:rPr lang="en-US" sz="4000" b="1" i="1" dirty="0">
                <a:solidFill>
                  <a:srgbClr val="6F6F6F"/>
                </a:solidFill>
                <a:effectLst/>
                <a:latin typeface="Helvetica Neue"/>
              </a:rPr>
              <a:t>Visually</a:t>
            </a:r>
            <a:r>
              <a:rPr lang="en-US" sz="3600" b="0" i="1" dirty="0">
                <a:solidFill>
                  <a:srgbClr val="6F6F6F"/>
                </a:solidFill>
                <a:effectLst/>
                <a:latin typeface="Helvetica Neue"/>
              </a:rPr>
              <a:t> integrate data sources with more than 90 </a:t>
            </a:r>
            <a:r>
              <a:rPr lang="en-US" sz="4000" b="1" i="1" dirty="0">
                <a:solidFill>
                  <a:srgbClr val="6F6F6F"/>
                </a:solidFill>
                <a:effectLst/>
                <a:latin typeface="Helvetica Neue"/>
              </a:rPr>
              <a:t>built-in connectors</a:t>
            </a:r>
            <a:r>
              <a:rPr lang="en-US" sz="3600" b="0" i="1" dirty="0">
                <a:solidFill>
                  <a:srgbClr val="6F6F6F"/>
                </a:solidFill>
                <a:effectLst/>
                <a:latin typeface="Helvetica Neue"/>
              </a:rPr>
              <a:t> at no added cost. Easily construct </a:t>
            </a:r>
            <a:r>
              <a:rPr lang="en-US" sz="4000" b="1" i="1" dirty="0">
                <a:solidFill>
                  <a:srgbClr val="6F6F6F"/>
                </a:solidFill>
                <a:effectLst/>
                <a:latin typeface="Helvetica Neue"/>
              </a:rPr>
              <a:t>ETL and ELT</a:t>
            </a:r>
            <a:r>
              <a:rPr lang="en-US" sz="3600" b="0" i="1" dirty="0">
                <a:solidFill>
                  <a:srgbClr val="6F6F6F"/>
                </a:solidFill>
                <a:effectLst/>
                <a:latin typeface="Helvetica Neue"/>
              </a:rPr>
              <a:t> processes code-free in an intuitive environment or write your own code.</a:t>
            </a:r>
            <a:endParaRPr lang="nl-BE" sz="3600" dirty="0"/>
          </a:p>
        </p:txBody>
      </p:sp>
    </p:spTree>
    <p:extLst>
      <p:ext uri="{BB962C8B-B14F-4D97-AF65-F5344CB8AC3E}">
        <p14:creationId xmlns:p14="http://schemas.microsoft.com/office/powerpoint/2010/main" val="40997600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F3A1591-D95D-4EAC-8412-2C0D3C993C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BE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33B15B4-CFC1-48E5-8CFA-4A413914C5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88380"/>
            <a:ext cx="12192000" cy="5042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63241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DF6EA9-CD34-476D-AE73-3F7595D8E8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BE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1F5CD5C-8CDE-421B-87C9-F57C6E98B2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76530" y="147483"/>
            <a:ext cx="7305339" cy="667501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D2CDD01-E506-0A90-A366-A83308C331D4}"/>
              </a:ext>
            </a:extLst>
          </p:cNvPr>
          <p:cNvSpPr txBox="1"/>
          <p:nvPr/>
        </p:nvSpPr>
        <p:spPr>
          <a:xfrm>
            <a:off x="3820160" y="4683760"/>
            <a:ext cx="1778000" cy="406400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8148184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4B8DEC-F10F-4591-BBF8-C29A9BCE2F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BE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507B04E-3B4C-4D19-9B64-C67CF2DCF5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1978640" cy="686231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44F44E9-D3F4-412F-9172-2C2CAC6013E0}"/>
              </a:ext>
            </a:extLst>
          </p:cNvPr>
          <p:cNvSpPr txBox="1"/>
          <p:nvPr/>
        </p:nvSpPr>
        <p:spPr>
          <a:xfrm>
            <a:off x="0" y="1991360"/>
            <a:ext cx="1778000" cy="406400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3EA0A81-1877-405F-AAA1-0A01F4C35876}"/>
              </a:ext>
            </a:extLst>
          </p:cNvPr>
          <p:cNvSpPr txBox="1"/>
          <p:nvPr/>
        </p:nvSpPr>
        <p:spPr>
          <a:xfrm>
            <a:off x="0" y="5867416"/>
            <a:ext cx="1778000" cy="972000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2DCD8F77-C336-4F55-95B2-809BADF0ED9A}"/>
              </a:ext>
            </a:extLst>
          </p:cNvPr>
          <p:cNvCxnSpPr/>
          <p:nvPr/>
        </p:nvCxnSpPr>
        <p:spPr>
          <a:xfrm flipH="1">
            <a:off x="4795520" y="3429000"/>
            <a:ext cx="1168400" cy="767080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</p:spTree>
    <p:extLst>
      <p:ext uri="{BB962C8B-B14F-4D97-AF65-F5344CB8AC3E}">
        <p14:creationId xmlns:p14="http://schemas.microsoft.com/office/powerpoint/2010/main" val="9048632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CFD7FC-2D99-4D5A-8D22-F7CD02C9BE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BE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0732EC2-931C-42A2-96C1-BD629F71A5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98379"/>
            <a:ext cx="12192000" cy="5061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72934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E Template">
  <a:themeElements>
    <a:clrScheme name="AE">
      <a:dk1>
        <a:sysClr val="windowText" lastClr="000000"/>
      </a:dk1>
      <a:lt1>
        <a:sysClr val="window" lastClr="FFFFFF"/>
      </a:lt1>
      <a:dk2>
        <a:srgbClr val="7F7F7F"/>
      </a:dk2>
      <a:lt2>
        <a:srgbClr val="F2F2F2"/>
      </a:lt2>
      <a:accent1>
        <a:srgbClr val="FF8C00"/>
      </a:accent1>
      <a:accent2>
        <a:srgbClr val="FF4B28"/>
      </a:accent2>
      <a:accent3>
        <a:srgbClr val="FFBF09"/>
      </a:accent3>
      <a:accent4>
        <a:srgbClr val="D20046"/>
      </a:accent4>
      <a:accent5>
        <a:srgbClr val="71012E"/>
      </a:accent5>
      <a:accent6>
        <a:srgbClr val="000000"/>
      </a:accent6>
      <a:hlink>
        <a:srgbClr val="FF8C00"/>
      </a:hlink>
      <a:folHlink>
        <a:srgbClr val="FF4B28"/>
      </a:folHlink>
    </a:clrScheme>
    <a:fontScheme name="AE">
      <a:majorFont>
        <a:latin typeface="Century Gothic Bold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E_PPT_Template_Final" id="{8A8A7240-7B30-1E45-84D0-435844989B9B}" vid="{FD755898-5489-C44C-BEE6-2C280AB2DFB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C88C16D4-64F8-4667-A3FF-13DB6438E811}" vid="{E9E13637-2846-439B-A9C9-DA3766E1716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AE_PPT_Template_Final</Template>
  <TotalTime>6766</TotalTime>
  <Words>569</Words>
  <Application>Microsoft Office PowerPoint</Application>
  <PresentationFormat>Widescreen</PresentationFormat>
  <Paragraphs>152</Paragraphs>
  <Slides>44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4</vt:i4>
      </vt:variant>
    </vt:vector>
  </HeadingPairs>
  <TitlesOfParts>
    <vt:vector size="54" baseType="lpstr">
      <vt:lpstr>Arial</vt:lpstr>
      <vt:lpstr>Calibri</vt:lpstr>
      <vt:lpstr>Calibri Light</vt:lpstr>
      <vt:lpstr>Century Gothic</vt:lpstr>
      <vt:lpstr>Century Gothic Bold</vt:lpstr>
      <vt:lpstr>Helvetica Neue</vt:lpstr>
      <vt:lpstr>Wingdings</vt:lpstr>
      <vt:lpstr>AE Template</vt:lpstr>
      <vt:lpstr>Office Theme</vt:lpstr>
      <vt:lpstr>think-cell Slide</vt:lpstr>
      <vt:lpstr>Introduction to Azure Data Factory</vt:lpstr>
      <vt:lpstr>contact</vt:lpstr>
      <vt:lpstr>what is Azure Data Factory?</vt:lpstr>
      <vt:lpstr>A fully managed, serverless data integration service. Visually integrate data sources with more than 90 built-in connectors at no added cost. Easily construct ETL and ELT processes code-free in an intuitive environment or write your own code.</vt:lpstr>
      <vt:lpstr>A fully managed, serverless data integration service. Visually integrate data sources with more than 90 built-in connectors at no added cost. Easily construct ETL and ELT processes code-free in an intuitive environment or write your own code.</vt:lpstr>
      <vt:lpstr>PowerPoint Presentation</vt:lpstr>
      <vt:lpstr>PowerPoint Presentation</vt:lpstr>
      <vt:lpstr>PowerPoint Presentation</vt:lpstr>
      <vt:lpstr>PowerPoint Presentation</vt:lpstr>
      <vt:lpstr>some terminology</vt:lpstr>
      <vt:lpstr>pipeline</vt:lpstr>
      <vt:lpstr>activities</vt:lpstr>
      <vt:lpstr>activities</vt:lpstr>
      <vt:lpstr>copy activity</vt:lpstr>
      <vt:lpstr>copy activity</vt:lpstr>
      <vt:lpstr>linked service</vt:lpstr>
      <vt:lpstr>data set</vt:lpstr>
      <vt:lpstr>DEMO</vt:lpstr>
      <vt:lpstr>integration runtimes</vt:lpstr>
      <vt:lpstr>triggers</vt:lpstr>
      <vt:lpstr>data flow</vt:lpstr>
      <vt:lpstr>power query</vt:lpstr>
      <vt:lpstr>if it’s not in ADF?</vt:lpstr>
      <vt:lpstr>git integration</vt:lpstr>
      <vt:lpstr>PowerPoint Presentation</vt:lpstr>
      <vt:lpstr>PowerPoint Presentation</vt:lpstr>
      <vt:lpstr>PowerPoint Presentation</vt:lpstr>
      <vt:lpstr>intermezzo!</vt:lpstr>
      <vt:lpstr>PowerPoint Presentation</vt:lpstr>
      <vt:lpstr>metadata ftw</vt:lpstr>
      <vt:lpstr>parameterize everything</vt:lpstr>
      <vt:lpstr>parameterize everything</vt:lpstr>
      <vt:lpstr>fetch metadata &amp; loop</vt:lpstr>
      <vt:lpstr>fill in parameters at runtime</vt:lpstr>
      <vt:lpstr>DEMO</vt:lpstr>
      <vt:lpstr>cost</vt:lpstr>
      <vt:lpstr>PowerPoint Presentation</vt:lpstr>
      <vt:lpstr>important to remember</vt:lpstr>
      <vt:lpstr>example</vt:lpstr>
      <vt:lpstr>example</vt:lpstr>
      <vt:lpstr>example</vt:lpstr>
      <vt:lpstr>conclusion</vt:lpstr>
      <vt:lpstr>conclusion</vt:lpstr>
      <vt:lpstr>resources</vt:lpstr>
    </vt:vector>
  </TitlesOfParts>
  <Company>A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oen Verbeeck</dc:creator>
  <cp:lastModifiedBy>Koen Verbeeck</cp:lastModifiedBy>
  <cp:revision>1</cp:revision>
  <dcterms:created xsi:type="dcterms:W3CDTF">2022-03-23T19:03:51Z</dcterms:created>
  <dcterms:modified xsi:type="dcterms:W3CDTF">2022-05-21T18:47:44Z</dcterms:modified>
</cp:coreProperties>
</file>